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tags/tag47.xml" ContentType="application/vnd.openxmlformats-officedocument.presentationml.tags+xml"/>
  <Override PartName="/ppt/notesSlides/notesSlide12.xml" ContentType="application/vnd.openxmlformats-officedocument.presentationml.notesSlide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49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6" r:id="rId2"/>
    <p:sldMasterId id="2147483729" r:id="rId3"/>
  </p:sldMasterIdLst>
  <p:notesMasterIdLst>
    <p:notesMasterId r:id="rId29"/>
  </p:notesMasterIdLst>
  <p:handoutMasterIdLst>
    <p:handoutMasterId r:id="rId30"/>
  </p:handoutMasterIdLst>
  <p:sldIdLst>
    <p:sldId id="256" r:id="rId4"/>
    <p:sldId id="826" r:id="rId5"/>
    <p:sldId id="725" r:id="rId6"/>
    <p:sldId id="726" r:id="rId7"/>
    <p:sldId id="727" r:id="rId8"/>
    <p:sldId id="732" r:id="rId9"/>
    <p:sldId id="803" r:id="rId10"/>
    <p:sldId id="804" r:id="rId11"/>
    <p:sldId id="802" r:id="rId12"/>
    <p:sldId id="716" r:id="rId13"/>
    <p:sldId id="825" r:id="rId14"/>
    <p:sldId id="810" r:id="rId15"/>
    <p:sldId id="817" r:id="rId16"/>
    <p:sldId id="818" r:id="rId17"/>
    <p:sldId id="737" r:id="rId18"/>
    <p:sldId id="807" r:id="rId19"/>
    <p:sldId id="806" r:id="rId20"/>
    <p:sldId id="793" r:id="rId21"/>
    <p:sldId id="819" r:id="rId22"/>
    <p:sldId id="827" r:id="rId23"/>
    <p:sldId id="820" r:id="rId24"/>
    <p:sldId id="821" r:id="rId25"/>
    <p:sldId id="822" r:id="rId26"/>
    <p:sldId id="823" r:id="rId27"/>
    <p:sldId id="649" r:id="rId28"/>
  </p:sldIdLst>
  <p:sldSz cx="12192000" cy="6858000"/>
  <p:notesSz cx="6805613" cy="99441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talia Pacheco Fortes Rabelo" initials="NPFR" lastIdx="1" clrIdx="0">
    <p:extLst>
      <p:ext uri="{19B8F6BF-5375-455C-9EA6-DF929625EA0E}">
        <p15:presenceInfo xmlns:p15="http://schemas.microsoft.com/office/powerpoint/2012/main" userId="S-1-5-21-2000478354-682003330-1417001333-151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C55"/>
    <a:srgbClr val="E4A302"/>
    <a:srgbClr val="60943C"/>
    <a:srgbClr val="462300"/>
    <a:srgbClr val="361B00"/>
    <a:srgbClr val="663300"/>
    <a:srgbClr val="0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0340" autoAdjust="0"/>
    <p:restoredTop sz="94125" autoAdjust="0"/>
  </p:normalViewPr>
  <p:slideViewPr>
    <p:cSldViewPr snapToGrid="0">
      <p:cViewPr varScale="1">
        <p:scale>
          <a:sx n="55" d="100"/>
          <a:sy n="55" d="100"/>
        </p:scale>
        <p:origin x="1204" y="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tayri_000\Documents\fsb\Freelas\CNI%20quanti\An&#225;lise%20-%20CNI%20jovens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tayri_000\Documents\fsb\Freelas\CNI%20quanti\An&#225;lise%20-%20CNI%20jovens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Planilha_do_Microsoft_Excel1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2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3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3.bin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792718918407967"/>
          <c:y val="5.8447942621727873E-2"/>
          <c:w val="0.79733245844269396"/>
          <c:h val="0.824668239729967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mp tecnico primeiro emp'!$C$1</c:f>
              <c:strCache>
                <c:ptCount val="1"/>
                <c:pt idx="0">
                  <c:v>Percent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E85C0E"/>
              </a:solidFill>
            </a:ln>
          </c:spPr>
          <c:invertIfNegative val="0"/>
          <c:dLbls>
            <c:dLbl>
              <c:idx val="8"/>
              <c:layout>
                <c:manualLayout>
                  <c:x val="8.550422040752792E-3"/>
                  <c:y val="-2.468844206696691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1.254047412447689E-16"/>
                  <c:y val="-1.234422103348345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accent5">
                        <a:lumMod val="50000"/>
                      </a:schemeClr>
                    </a:solidFill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imp tecnico primeiro emp'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'imp tecnico primeiro emp'!$C$2:$C$12</c:f>
              <c:numCache>
                <c:formatCode>0.0%</c:formatCode>
                <c:ptCount val="11"/>
                <c:pt idx="0">
                  <c:v>1.0135135135135101E-2</c:v>
                </c:pt>
                <c:pt idx="1">
                  <c:v>4.2229729729729697E-3</c:v>
                </c:pt>
                <c:pt idx="2">
                  <c:v>4.2229729729729697E-3</c:v>
                </c:pt>
                <c:pt idx="3">
                  <c:v>4.2229729729729697E-3</c:v>
                </c:pt>
                <c:pt idx="4">
                  <c:v>1.68918918918919E-2</c:v>
                </c:pt>
                <c:pt idx="5">
                  <c:v>5.1520270270270285E-2</c:v>
                </c:pt>
                <c:pt idx="6">
                  <c:v>3.4628378378378406E-2</c:v>
                </c:pt>
                <c:pt idx="7">
                  <c:v>8.3614864864865052E-2</c:v>
                </c:pt>
                <c:pt idx="8">
                  <c:v>0.22128378378378397</c:v>
                </c:pt>
                <c:pt idx="9">
                  <c:v>0.168918918918919</c:v>
                </c:pt>
                <c:pt idx="10">
                  <c:v>0.2871621621621621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"/>
        <c:axId val="137561880"/>
        <c:axId val="137564624"/>
      </c:barChart>
      <c:catAx>
        <c:axId val="1375618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accent5">
                    <a:lumMod val="50000"/>
                  </a:schemeClr>
                </a:solidFill>
              </a:defRPr>
            </a:pPr>
            <a:endParaRPr lang="pt-BR"/>
          </a:p>
        </c:txPr>
        <c:crossAx val="137564624"/>
        <c:crosses val="autoZero"/>
        <c:auto val="1"/>
        <c:lblAlgn val="ctr"/>
        <c:lblOffset val="100"/>
        <c:noMultiLvlLbl val="0"/>
      </c:catAx>
      <c:valAx>
        <c:axId val="137564624"/>
        <c:scaling>
          <c:orientation val="minMax"/>
          <c:max val="1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accent5">
                    <a:lumMod val="50000"/>
                  </a:schemeClr>
                </a:solidFill>
              </a:defRPr>
            </a:pPr>
            <a:endParaRPr lang="pt-BR"/>
          </a:p>
        </c:txPr>
        <c:crossAx val="137561880"/>
        <c:crosses val="autoZero"/>
        <c:crossBetween val="between"/>
        <c:majorUnit val="0.2"/>
        <c:minorUnit val="0.1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2200">
          <a:solidFill>
            <a:schemeClr val="bg1"/>
          </a:solidFill>
          <a:latin typeface="+mn-lt"/>
        </a:defRPr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885904538666622"/>
          <c:y val="2.8817185395577177E-2"/>
          <c:w val="0.79733245844269396"/>
          <c:h val="0.824668239729967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mp tecnico futuro profissional'!$C$1</c:f>
              <c:strCache>
                <c:ptCount val="1"/>
                <c:pt idx="0">
                  <c:v>Percent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E85C0E"/>
              </a:solidFill>
            </a:ln>
          </c:spPr>
          <c:invertIfNegative val="0"/>
          <c:dLbls>
            <c:dLbl>
              <c:idx val="9"/>
              <c:layout>
                <c:manualLayout>
                  <c:x val="3.9225376038545881E-3"/>
                  <c:y val="-5.896242263472840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0">
                    <a:solidFill>
                      <a:schemeClr val="accent1">
                        <a:lumMod val="50000"/>
                      </a:schemeClr>
                    </a:solidFill>
                    <a:latin typeface="+mn-lt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imp tecnico futuro profissional'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'imp tecnico futuro profissional'!$C$2:$C$12</c:f>
              <c:numCache>
                <c:formatCode>0.0%</c:formatCode>
                <c:ptCount val="11"/>
                <c:pt idx="0">
                  <c:v>4.2229729729729697E-3</c:v>
                </c:pt>
                <c:pt idx="1">
                  <c:v>1.6891891891891904E-3</c:v>
                </c:pt>
                <c:pt idx="2">
                  <c:v>2.53378378378378E-3</c:v>
                </c:pt>
                <c:pt idx="3">
                  <c:v>5.0675675675675696E-3</c:v>
                </c:pt>
                <c:pt idx="4">
                  <c:v>6.7567567567567597E-3</c:v>
                </c:pt>
                <c:pt idx="5">
                  <c:v>3.4628378378378406E-2</c:v>
                </c:pt>
                <c:pt idx="6">
                  <c:v>3.7162162162162199E-2</c:v>
                </c:pt>
                <c:pt idx="7">
                  <c:v>6.50337837837838E-2</c:v>
                </c:pt>
                <c:pt idx="8">
                  <c:v>0.16216216216216206</c:v>
                </c:pt>
                <c:pt idx="9">
                  <c:v>0.17567567567567588</c:v>
                </c:pt>
                <c:pt idx="10">
                  <c:v>0.3918918918918922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"/>
        <c:axId val="137561488"/>
        <c:axId val="137563056"/>
      </c:barChart>
      <c:catAx>
        <c:axId val="1375614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2000">
                <a:solidFill>
                  <a:schemeClr val="accent5">
                    <a:lumMod val="50000"/>
                  </a:schemeClr>
                </a:solidFill>
                <a:latin typeface="+mn-lt"/>
              </a:defRPr>
            </a:pPr>
            <a:endParaRPr lang="pt-BR"/>
          </a:p>
        </c:txPr>
        <c:crossAx val="137563056"/>
        <c:crosses val="autoZero"/>
        <c:auto val="1"/>
        <c:lblAlgn val="ctr"/>
        <c:lblOffset val="100"/>
        <c:noMultiLvlLbl val="0"/>
      </c:catAx>
      <c:valAx>
        <c:axId val="137563056"/>
        <c:scaling>
          <c:orientation val="minMax"/>
          <c:max val="1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2000">
                <a:solidFill>
                  <a:schemeClr val="accent5">
                    <a:lumMod val="50000"/>
                  </a:schemeClr>
                </a:solidFill>
                <a:latin typeface="+mn-lt"/>
              </a:defRPr>
            </a:pPr>
            <a:endParaRPr lang="pt-BR"/>
          </a:p>
        </c:txPr>
        <c:crossAx val="137561488"/>
        <c:crosses val="autoZero"/>
        <c:crossBetween val="between"/>
        <c:majorUnit val="0.2"/>
        <c:minorUnit val="0.1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Trebuchet MS" panose="020B0603020202020204" pitchFamily="34" charset="0"/>
        </a:defRPr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163873029558047E-2"/>
          <c:y val="2.4295768136323278E-2"/>
          <c:w val="0.949420954877501"/>
          <c:h val="0.681063733772796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1!$B$3</c:f>
              <c:strCache>
                <c:ptCount val="1"/>
                <c:pt idx="0">
                  <c:v>Aprendizes por 1000 empregado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2"/>
              <c:tx>
                <c:rich>
                  <a:bodyPr/>
                  <a:lstStyle/>
                  <a:p>
                    <a:r>
                      <a:rPr lang="en-US" b="1" dirty="0" smtClean="0"/>
                      <a:t>0,7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4:$A$16</c:f>
              <c:strCache>
                <c:ptCount val="13"/>
                <c:pt idx="1">
                  <c:v>Suíça</c:v>
                </c:pt>
                <c:pt idx="2">
                  <c:v>Austrália</c:v>
                </c:pt>
                <c:pt idx="3">
                  <c:v>Alemanha</c:v>
                </c:pt>
                <c:pt idx="4">
                  <c:v>Áustria</c:v>
                </c:pt>
                <c:pt idx="5">
                  <c:v>Canadá</c:v>
                </c:pt>
                <c:pt idx="6">
                  <c:v>Dinamarca</c:v>
                </c:pt>
                <c:pt idx="7">
                  <c:v>Itália</c:v>
                </c:pt>
                <c:pt idx="8">
                  <c:v>Reino Unido</c:v>
                </c:pt>
                <c:pt idx="9">
                  <c:v>França</c:v>
                </c:pt>
                <c:pt idx="10">
                  <c:v>EUA</c:v>
                </c:pt>
                <c:pt idx="11">
                  <c:v>Irlanda</c:v>
                </c:pt>
                <c:pt idx="12">
                  <c:v>Brasil</c:v>
                </c:pt>
              </c:strCache>
            </c:strRef>
          </c:cat>
          <c:val>
            <c:numRef>
              <c:f>Plan1!$B$4:$B$16</c:f>
              <c:numCache>
                <c:formatCode>General</c:formatCode>
                <c:ptCount val="13"/>
                <c:pt idx="1">
                  <c:v>4.4000000000000004</c:v>
                </c:pt>
                <c:pt idx="2">
                  <c:v>4</c:v>
                </c:pt>
                <c:pt idx="3">
                  <c:v>3.9</c:v>
                </c:pt>
                <c:pt idx="4">
                  <c:v>3.2</c:v>
                </c:pt>
                <c:pt idx="5">
                  <c:v>3</c:v>
                </c:pt>
                <c:pt idx="6">
                  <c:v>2.7</c:v>
                </c:pt>
                <c:pt idx="7">
                  <c:v>2.4</c:v>
                </c:pt>
                <c:pt idx="8">
                  <c:v>2</c:v>
                </c:pt>
                <c:pt idx="9">
                  <c:v>1.7</c:v>
                </c:pt>
                <c:pt idx="10">
                  <c:v>1.4</c:v>
                </c:pt>
                <c:pt idx="11">
                  <c:v>1</c:v>
                </c:pt>
                <c:pt idx="12">
                  <c:v>0.7000000000000001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6192312"/>
        <c:axId val="156192704"/>
      </c:barChart>
      <c:catAx>
        <c:axId val="15619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pt-BR"/>
          </a:p>
        </c:txPr>
        <c:crossAx val="156192704"/>
        <c:crosses val="autoZero"/>
        <c:auto val="1"/>
        <c:lblAlgn val="ctr"/>
        <c:lblOffset val="100"/>
        <c:noMultiLvlLbl val="0"/>
      </c:catAx>
      <c:valAx>
        <c:axId val="156192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56192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pt-BR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spPr>
            <a:solidFill>
              <a:srgbClr val="0062AC"/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62AC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-0.2524366358624236"/>
                  <c:y val="-0.1941053538446777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21814129542111263"/>
                  <c:y val="0.187862215879190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pt-BR" sz="1400" b="1" i="0" u="none" strike="noStrike" kern="1200" baseline="0">
                      <a:solidFill>
                        <a:schemeClr val="tx1"/>
                      </a:solidFill>
                      <a:latin typeface="Century Gothic" panose="020B0502020202020204" pitchFamily="34" charset="0"/>
                      <a:ea typeface="+mn-ea"/>
                      <a:cs typeface="Arial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pt-BR" sz="14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Arial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gráficos!$A$6:$A$7</c:f>
              <c:numCache>
                <c:formatCode>0%</c:formatCode>
                <c:ptCount val="2"/>
                <c:pt idx="0">
                  <c:v>0.73000000000000032</c:v>
                </c:pt>
                <c:pt idx="1">
                  <c:v>0.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pt-BR" sz="1800" b="1" kern="1200">
          <a:solidFill>
            <a:schemeClr val="tx2"/>
          </a:solidFill>
          <a:latin typeface="Century Gothic" pitchFamily="34" charset="0"/>
          <a:ea typeface="+mn-ea"/>
          <a:cs typeface="+mn-cs"/>
        </a:defRPr>
      </a:pPr>
      <a:endParaRPr lang="pt-BR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spPr>
            <a:solidFill>
              <a:srgbClr val="0062AC"/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62AC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-0.24772478630423544"/>
                  <c:y val="-8.060946870741264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Century Gothic" panose="020B0502020202020204" pitchFamily="34" charset="0"/>
                      <a:ea typeface="+mn-ea"/>
                      <a:cs typeface="Arial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23688169382264859"/>
                  <c:y val="3.6824794638862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Arial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gráficos!$A$8:$A$9</c:f>
              <c:numCache>
                <c:formatCode>0%</c:formatCode>
                <c:ptCount val="2"/>
                <c:pt idx="0">
                  <c:v>0.55000000000000004</c:v>
                </c:pt>
                <c:pt idx="1">
                  <c:v>0.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0062AC"/>
            </a:solidFill>
          </c:spPr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</c:dPt>
          <c:dLbls>
            <c:delete val="1"/>
          </c:dLbls>
          <c:cat>
            <c:numRef>
              <c:f>'[gráfico aprendizagem.xlsx]Plan1'!$H$6:$H$7</c:f>
              <c:numCache>
                <c:formatCode>General</c:formatCode>
                <c:ptCount val="2"/>
              </c:numCache>
            </c:numRef>
          </c:cat>
          <c:val>
            <c:numRef>
              <c:f>'[gráfico aprendizagem.xlsx]Plan1'!$I$6:$I$7</c:f>
              <c:numCache>
                <c:formatCode>#.#00%</c:formatCode>
                <c:ptCount val="2"/>
                <c:pt idx="0">
                  <c:v>0.10299999999999999</c:v>
                </c:pt>
                <c:pt idx="1">
                  <c:v>0.89700000000000002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4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D536F90-9D94-4A27-9F51-C82FD9A11C2F}" type="doc">
      <dgm:prSet loTypeId="urn:microsoft.com/office/officeart/2005/8/layout/radial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2C047694-1425-4F69-8183-60F6421FAB4F}">
      <dgm:prSet phldrT="[Texto]" custT="1"/>
      <dgm:spPr>
        <a:xfrm>
          <a:off x="3656682" y="3925"/>
          <a:ext cx="1397455" cy="733222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800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Linguagens</a:t>
          </a:r>
          <a:endParaRPr lang="pt-BR" sz="1800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F60BCA8F-C2D1-40DC-8813-58C89ADDE0B9}" type="parTrans" cxnId="{15D057D6-9E77-45F8-A7FE-4EC4EFDD3167}">
      <dgm:prSet/>
      <dgm:spPr>
        <a:xfrm rot="19671995">
          <a:off x="1942807" y="1201119"/>
          <a:ext cx="2127617" cy="3322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127617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pt-BR"/>
        </a:p>
      </dgm:t>
    </dgm:pt>
    <dgm:pt modelId="{B8295EDE-D629-4D1A-BB7A-6E0B3220964F}" type="sibTrans" cxnId="{15D057D6-9E77-45F8-A7FE-4EC4EFDD3167}">
      <dgm:prSet/>
      <dgm:spPr/>
      <dgm:t>
        <a:bodyPr/>
        <a:lstStyle/>
        <a:p>
          <a:endParaRPr lang="pt-BR"/>
        </a:p>
      </dgm:t>
    </dgm:pt>
    <dgm:pt modelId="{B4E0EC6F-8F34-4B54-992D-38CEB603314F}">
      <dgm:prSet phldrT="[Texto]" custT="1"/>
      <dgm:spPr>
        <a:xfrm>
          <a:off x="4175914" y="781011"/>
          <a:ext cx="1397455" cy="733222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800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atemática</a:t>
          </a:r>
          <a:endParaRPr lang="pt-BR" sz="1800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99CD7329-D380-4E09-A708-F129AE988C6E}" type="parTrans" cxnId="{45FC134B-BDB2-4439-B572-3D0B602D4B9B}">
      <dgm:prSet/>
      <dgm:spPr>
        <a:xfrm rot="20658933">
          <a:off x="2064140" y="1606245"/>
          <a:ext cx="2236077" cy="3322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236077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pt-BR"/>
        </a:p>
      </dgm:t>
    </dgm:pt>
    <dgm:pt modelId="{E8CDE0F8-757C-463F-9E9E-61364ECA4DA6}" type="sibTrans" cxnId="{45FC134B-BDB2-4439-B572-3D0B602D4B9B}">
      <dgm:prSet/>
      <dgm:spPr/>
      <dgm:t>
        <a:bodyPr/>
        <a:lstStyle/>
        <a:p>
          <a:endParaRPr lang="pt-BR"/>
        </a:p>
      </dgm:t>
    </dgm:pt>
    <dgm:pt modelId="{AF27EF37-13D3-414D-A677-386290A475A8}">
      <dgm:prSet phldrT="[Texto]" custT="1"/>
      <dgm:spPr>
        <a:xfrm>
          <a:off x="4358244" y="1697646"/>
          <a:ext cx="1397455" cy="733222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800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Ciências da natureza</a:t>
          </a:r>
          <a:endParaRPr lang="pt-BR" sz="1800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93B9A32E-B234-41CB-AE2F-A13CE2C906D3}" type="parTrans" cxnId="{B4C7169F-AB57-429B-9DE0-6032353F18D9}">
      <dgm:prSet/>
      <dgm:spPr>
        <a:xfrm rot="25299">
          <a:off x="2105740" y="2034216"/>
          <a:ext cx="2252603" cy="3322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252603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pt-BR"/>
        </a:p>
      </dgm:t>
    </dgm:pt>
    <dgm:pt modelId="{2E3866A0-6559-4E5F-928B-B74B4C2EE7FA}" type="sibTrans" cxnId="{B4C7169F-AB57-429B-9DE0-6032353F18D9}">
      <dgm:prSet/>
      <dgm:spPr/>
      <dgm:t>
        <a:bodyPr/>
        <a:lstStyle/>
        <a:p>
          <a:endParaRPr lang="pt-BR"/>
        </a:p>
      </dgm:t>
    </dgm:pt>
    <dgm:pt modelId="{D338437C-5843-4F9A-901C-814174CBA37A}">
      <dgm:prSet custT="1"/>
      <dgm:spPr>
        <a:xfrm>
          <a:off x="4175914" y="2614282"/>
          <a:ext cx="1397455" cy="733222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800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Ciências Humanas</a:t>
          </a:r>
          <a:endParaRPr lang="pt-BR" sz="1800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AFCB0CDC-064C-41FD-AB49-3C99255730F6}" type="parTrans" cxnId="{227DFCF1-80E1-4B5F-9013-A4F18EC92228}">
      <dgm:prSet/>
      <dgm:spPr>
        <a:xfrm rot="990456">
          <a:off x="2059331" y="2463843"/>
          <a:ext cx="2253363" cy="3322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253363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pt-BR"/>
        </a:p>
      </dgm:t>
    </dgm:pt>
    <dgm:pt modelId="{D7268D33-6C5C-42BD-8A10-FDD1E90CD770}" type="sibTrans" cxnId="{227DFCF1-80E1-4B5F-9013-A4F18EC92228}">
      <dgm:prSet/>
      <dgm:spPr/>
      <dgm:t>
        <a:bodyPr/>
        <a:lstStyle/>
        <a:p>
          <a:endParaRPr lang="pt-BR"/>
        </a:p>
      </dgm:t>
    </dgm:pt>
    <dgm:pt modelId="{2F4C345C-7B78-44E1-AD87-C313C440C685}">
      <dgm:prSet custT="1"/>
      <dgm:spPr>
        <a:xfrm>
          <a:off x="3445446" y="3350382"/>
          <a:ext cx="1735433" cy="749284"/>
        </a:xfrm>
        <a:prstGeom prst="ellipse">
          <a:avLst/>
        </a:prstGeom>
        <a:solidFill>
          <a:srgbClr val="ED7D31">
            <a:lumMod val="75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800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Formação técnica e profissional</a:t>
          </a:r>
          <a:endParaRPr lang="pt-BR" sz="1800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DDF8AFDF-0862-4F5B-8803-58E4AD3F21DD}" type="parTrans" cxnId="{4DA1DF9A-AE3A-41A4-9BA0-03F31733466E}">
      <dgm:prSet/>
      <dgm:spPr>
        <a:xfrm rot="1968258">
          <a:off x="1942176" y="2841380"/>
          <a:ext cx="2051673" cy="3322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051673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pt-BR"/>
        </a:p>
      </dgm:t>
    </dgm:pt>
    <dgm:pt modelId="{ABED826D-4882-40E8-9123-AD6E3A536E01}" type="sibTrans" cxnId="{4DA1DF9A-AE3A-41A4-9BA0-03F31733466E}">
      <dgm:prSet/>
      <dgm:spPr/>
      <dgm:t>
        <a:bodyPr/>
        <a:lstStyle/>
        <a:p>
          <a:endParaRPr lang="pt-BR"/>
        </a:p>
      </dgm:t>
    </dgm:pt>
    <dgm:pt modelId="{BB21E02C-31BC-4702-A16B-A9B6F4CCD77C}" type="pres">
      <dgm:prSet presAssocID="{1D536F90-9D94-4A27-9F51-C82FD9A11C2F}" presName="composite" presStyleCnt="0">
        <dgm:presLayoutVars>
          <dgm:chMax val="5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14CD63C-8918-4E62-A872-834C55EAC8DF}" type="pres">
      <dgm:prSet presAssocID="{1D536F90-9D94-4A27-9F51-C82FD9A11C2F}" presName="cycle" presStyleCnt="0"/>
      <dgm:spPr/>
    </dgm:pt>
    <dgm:pt modelId="{2C3FFBDC-B631-4664-8FEC-E24AC8D401C6}" type="pres">
      <dgm:prSet presAssocID="{1D536F90-9D94-4A27-9F51-C82FD9A11C2F}" presName="centerShape" presStyleCnt="0"/>
      <dgm:spPr/>
    </dgm:pt>
    <dgm:pt modelId="{06CE8EE4-FB62-431A-AC35-A70670FEB976}" type="pres">
      <dgm:prSet presAssocID="{1D536F90-9D94-4A27-9F51-C82FD9A11C2F}" presName="connSite" presStyleLbl="node1" presStyleIdx="0" presStyleCnt="6"/>
      <dgm:spPr/>
    </dgm:pt>
    <dgm:pt modelId="{FC71F3CC-6F7C-4FD9-89F6-3A0D3986A03E}" type="pres">
      <dgm:prSet presAssocID="{1D536F90-9D94-4A27-9F51-C82FD9A11C2F}" presName="visible" presStyleLbl="node1" presStyleIdx="0" presStyleCnt="6" custScaleX="142236" custScaleY="97834" custLinFactNeighborX="-20374" custLinFactNeighborY="-1111"/>
      <dgm:spPr>
        <a:xfrm>
          <a:off x="632911" y="1457019"/>
          <a:ext cx="1656180" cy="1139168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endParaRPr lang="pt-BR"/>
        </a:p>
      </dgm:t>
    </dgm:pt>
    <dgm:pt modelId="{E31FC0D6-738E-4190-BF08-EED059DFC30A}" type="pres">
      <dgm:prSet presAssocID="{F60BCA8F-C2D1-40DC-8813-58C89ADDE0B9}" presName="Name25" presStyleLbl="parChTrans1D1" presStyleIdx="0" presStyleCnt="5"/>
      <dgm:spPr/>
      <dgm:t>
        <a:bodyPr/>
        <a:lstStyle/>
        <a:p>
          <a:endParaRPr lang="pt-BR"/>
        </a:p>
      </dgm:t>
    </dgm:pt>
    <dgm:pt modelId="{D14C94C3-FC7E-47B3-A532-763F56253308}" type="pres">
      <dgm:prSet presAssocID="{2C047694-1425-4F69-8183-60F6421FAB4F}" presName="node" presStyleCnt="0"/>
      <dgm:spPr/>
    </dgm:pt>
    <dgm:pt modelId="{53A56580-53AB-4119-A873-64FB117FAC73}" type="pres">
      <dgm:prSet presAssocID="{2C047694-1425-4F69-8183-60F6421FAB4F}" presName="parentNode" presStyleLbl="node1" presStyleIdx="1" presStyleCnt="6" custScaleX="291721" custScaleY="104951" custLinFactX="100000" custLinFactNeighborX="130409" custLinFactNeighborY="353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538D094-64CB-4BC7-853E-656E99B0213E}" type="pres">
      <dgm:prSet presAssocID="{2C047694-1425-4F69-8183-60F6421FAB4F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8261B57-87BA-4BED-89DD-C5EC8FEC8F35}" type="pres">
      <dgm:prSet presAssocID="{99CD7329-D380-4E09-A708-F129AE988C6E}" presName="Name25" presStyleLbl="parChTrans1D1" presStyleIdx="1" presStyleCnt="5"/>
      <dgm:spPr/>
      <dgm:t>
        <a:bodyPr/>
        <a:lstStyle/>
        <a:p>
          <a:endParaRPr lang="pt-BR"/>
        </a:p>
      </dgm:t>
    </dgm:pt>
    <dgm:pt modelId="{45916740-FE3A-45C4-94FA-1E3953C8D197}" type="pres">
      <dgm:prSet presAssocID="{B4E0EC6F-8F34-4B54-992D-38CEB603314F}" presName="node" presStyleCnt="0"/>
      <dgm:spPr/>
    </dgm:pt>
    <dgm:pt modelId="{A820738C-8376-4292-B407-7E5ABEBDEBA9}" type="pres">
      <dgm:prSet presAssocID="{B4E0EC6F-8F34-4B54-992D-38CEB603314F}" presName="parentNode" presStyleLbl="node1" presStyleIdx="2" presStyleCnt="6" custScaleX="291721" custScaleY="104951" custLinFactX="100000" custLinFactNeighborX="130409" custLinFactNeighborY="353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66CF510-76C4-427A-8FE6-59A95A241D77}" type="pres">
      <dgm:prSet presAssocID="{B4E0EC6F-8F34-4B54-992D-38CEB603314F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3CFD6D8-7D3E-432A-A2E9-ADC031DA58D5}" type="pres">
      <dgm:prSet presAssocID="{93B9A32E-B234-41CB-AE2F-A13CE2C906D3}" presName="Name25" presStyleLbl="parChTrans1D1" presStyleIdx="2" presStyleCnt="5"/>
      <dgm:spPr/>
      <dgm:t>
        <a:bodyPr/>
        <a:lstStyle/>
        <a:p>
          <a:endParaRPr lang="pt-BR"/>
        </a:p>
      </dgm:t>
    </dgm:pt>
    <dgm:pt modelId="{585A1FF2-566D-4E5A-A84A-DF3CF2980F4C}" type="pres">
      <dgm:prSet presAssocID="{AF27EF37-13D3-414D-A677-386290A475A8}" presName="node" presStyleCnt="0"/>
      <dgm:spPr/>
    </dgm:pt>
    <dgm:pt modelId="{0489115D-2C61-464C-9CE4-42C9C3BE2519}" type="pres">
      <dgm:prSet presAssocID="{AF27EF37-13D3-414D-A677-386290A475A8}" presName="parentNode" presStyleLbl="node1" presStyleIdx="3" presStyleCnt="6" custScaleX="291721" custScaleY="104951" custLinFactX="100000" custLinFactNeighborX="130409" custLinFactNeighborY="353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E102246-BBE6-4E87-85A4-A8165C81EDD6}" type="pres">
      <dgm:prSet presAssocID="{AF27EF37-13D3-414D-A677-386290A475A8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80C2924-CA33-4A0D-B1A0-37401485A450}" type="pres">
      <dgm:prSet presAssocID="{AFCB0CDC-064C-41FD-AB49-3C99255730F6}" presName="Name25" presStyleLbl="parChTrans1D1" presStyleIdx="3" presStyleCnt="5"/>
      <dgm:spPr/>
      <dgm:t>
        <a:bodyPr/>
        <a:lstStyle/>
        <a:p>
          <a:endParaRPr lang="pt-BR"/>
        </a:p>
      </dgm:t>
    </dgm:pt>
    <dgm:pt modelId="{F1ED19B4-98E9-4F9A-807C-0BC5B1DC405D}" type="pres">
      <dgm:prSet presAssocID="{D338437C-5843-4F9A-901C-814174CBA37A}" presName="node" presStyleCnt="0"/>
      <dgm:spPr/>
    </dgm:pt>
    <dgm:pt modelId="{15A962D0-B628-4C30-9908-F646FF162783}" type="pres">
      <dgm:prSet presAssocID="{D338437C-5843-4F9A-901C-814174CBA37A}" presName="parentNode" presStyleLbl="node1" presStyleIdx="4" presStyleCnt="6" custScaleX="291721" custScaleY="104951" custLinFactX="100000" custLinFactNeighborX="130409" custLinFactNeighborY="353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7F207B0-97A6-4BF9-B667-19C1DAF84DE4}" type="pres">
      <dgm:prSet presAssocID="{D338437C-5843-4F9A-901C-814174CBA37A}" presName="childNode" presStyleLbl="revTx" presStyleIdx="0" presStyleCnt="0">
        <dgm:presLayoutVars>
          <dgm:bulletEnabled val="1"/>
        </dgm:presLayoutVars>
      </dgm:prSet>
      <dgm:spPr/>
    </dgm:pt>
    <dgm:pt modelId="{2B19FB60-F7E5-4339-914E-7CBB691E44C3}" type="pres">
      <dgm:prSet presAssocID="{DDF8AFDF-0862-4F5B-8803-58E4AD3F21DD}" presName="Name25" presStyleLbl="parChTrans1D1" presStyleIdx="4" presStyleCnt="5"/>
      <dgm:spPr/>
      <dgm:t>
        <a:bodyPr/>
        <a:lstStyle/>
        <a:p>
          <a:endParaRPr lang="pt-BR"/>
        </a:p>
      </dgm:t>
    </dgm:pt>
    <dgm:pt modelId="{16F3E808-A0CF-4C95-808C-162AB791352A}" type="pres">
      <dgm:prSet presAssocID="{2F4C345C-7B78-44E1-AD87-C313C440C685}" presName="node" presStyleCnt="0"/>
      <dgm:spPr/>
    </dgm:pt>
    <dgm:pt modelId="{74BF9B37-B887-4C33-87BE-6E0DE47D9CC5}" type="pres">
      <dgm:prSet presAssocID="{2F4C345C-7B78-44E1-AD87-C313C440C685}" presName="parentNode" presStyleLbl="node1" presStyleIdx="5" presStyleCnt="6" custScaleX="335323" custScaleY="107250" custLinFactX="100000" custLinFactNeighborX="130409" custLinFactNeighborY="-1179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E3FC8D5-0728-433D-B668-E28899BD3258}" type="pres">
      <dgm:prSet presAssocID="{2F4C345C-7B78-44E1-AD87-C313C440C685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227DFCF1-80E1-4B5F-9013-A4F18EC92228}" srcId="{1D536F90-9D94-4A27-9F51-C82FD9A11C2F}" destId="{D338437C-5843-4F9A-901C-814174CBA37A}" srcOrd="3" destOrd="0" parTransId="{AFCB0CDC-064C-41FD-AB49-3C99255730F6}" sibTransId="{D7268D33-6C5C-42BD-8A10-FDD1E90CD770}"/>
    <dgm:cxn modelId="{A9C7E753-51E0-435B-8FD7-58821881EBE8}" type="presOf" srcId="{AF27EF37-13D3-414D-A677-386290A475A8}" destId="{0489115D-2C61-464C-9CE4-42C9C3BE2519}" srcOrd="0" destOrd="0" presId="urn:microsoft.com/office/officeart/2005/8/layout/radial2"/>
    <dgm:cxn modelId="{52C6A750-A0FF-4EA3-9B75-2F9430B0A9B7}" type="presOf" srcId="{F60BCA8F-C2D1-40DC-8813-58C89ADDE0B9}" destId="{E31FC0D6-738E-4190-BF08-EED059DFC30A}" srcOrd="0" destOrd="0" presId="urn:microsoft.com/office/officeart/2005/8/layout/radial2"/>
    <dgm:cxn modelId="{B030E7B9-97EC-48B9-B792-00F0B25968C0}" type="presOf" srcId="{AFCB0CDC-064C-41FD-AB49-3C99255730F6}" destId="{D80C2924-CA33-4A0D-B1A0-37401485A450}" srcOrd="0" destOrd="0" presId="urn:microsoft.com/office/officeart/2005/8/layout/radial2"/>
    <dgm:cxn modelId="{94ECD5F8-12FC-484F-9334-9DA59386DFE0}" type="presOf" srcId="{93B9A32E-B234-41CB-AE2F-A13CE2C906D3}" destId="{D3CFD6D8-7D3E-432A-A2E9-ADC031DA58D5}" srcOrd="0" destOrd="0" presId="urn:microsoft.com/office/officeart/2005/8/layout/radial2"/>
    <dgm:cxn modelId="{2F0A54D9-5B0F-41C5-A5F3-D2BAD5FECDF3}" type="presOf" srcId="{99CD7329-D380-4E09-A708-F129AE988C6E}" destId="{B8261B57-87BA-4BED-89DD-C5EC8FEC8F35}" srcOrd="0" destOrd="0" presId="urn:microsoft.com/office/officeart/2005/8/layout/radial2"/>
    <dgm:cxn modelId="{15D057D6-9E77-45F8-A7FE-4EC4EFDD3167}" srcId="{1D536F90-9D94-4A27-9F51-C82FD9A11C2F}" destId="{2C047694-1425-4F69-8183-60F6421FAB4F}" srcOrd="0" destOrd="0" parTransId="{F60BCA8F-C2D1-40DC-8813-58C89ADDE0B9}" sibTransId="{B8295EDE-D629-4D1A-BB7A-6E0B3220964F}"/>
    <dgm:cxn modelId="{392E4BE2-FD00-4DD6-B77A-456FF11A0779}" type="presOf" srcId="{DDF8AFDF-0862-4F5B-8803-58E4AD3F21DD}" destId="{2B19FB60-F7E5-4339-914E-7CBB691E44C3}" srcOrd="0" destOrd="0" presId="urn:microsoft.com/office/officeart/2005/8/layout/radial2"/>
    <dgm:cxn modelId="{45FC134B-BDB2-4439-B572-3D0B602D4B9B}" srcId="{1D536F90-9D94-4A27-9F51-C82FD9A11C2F}" destId="{B4E0EC6F-8F34-4B54-992D-38CEB603314F}" srcOrd="1" destOrd="0" parTransId="{99CD7329-D380-4E09-A708-F129AE988C6E}" sibTransId="{E8CDE0F8-757C-463F-9E9E-61364ECA4DA6}"/>
    <dgm:cxn modelId="{162E3E10-536F-478F-9B2D-7E69685E2EE5}" type="presOf" srcId="{D338437C-5843-4F9A-901C-814174CBA37A}" destId="{15A962D0-B628-4C30-9908-F646FF162783}" srcOrd="0" destOrd="0" presId="urn:microsoft.com/office/officeart/2005/8/layout/radial2"/>
    <dgm:cxn modelId="{B4C7169F-AB57-429B-9DE0-6032353F18D9}" srcId="{1D536F90-9D94-4A27-9F51-C82FD9A11C2F}" destId="{AF27EF37-13D3-414D-A677-386290A475A8}" srcOrd="2" destOrd="0" parTransId="{93B9A32E-B234-41CB-AE2F-A13CE2C906D3}" sibTransId="{2E3866A0-6559-4E5F-928B-B74B4C2EE7FA}"/>
    <dgm:cxn modelId="{A8B1DD7A-73EC-4F74-A919-D4FF6791FE45}" type="presOf" srcId="{B4E0EC6F-8F34-4B54-992D-38CEB603314F}" destId="{A820738C-8376-4292-B407-7E5ABEBDEBA9}" srcOrd="0" destOrd="0" presId="urn:microsoft.com/office/officeart/2005/8/layout/radial2"/>
    <dgm:cxn modelId="{7EE7E76D-51F7-40AA-B537-19E4BE548CC2}" type="presOf" srcId="{2F4C345C-7B78-44E1-AD87-C313C440C685}" destId="{74BF9B37-B887-4C33-87BE-6E0DE47D9CC5}" srcOrd="0" destOrd="0" presId="urn:microsoft.com/office/officeart/2005/8/layout/radial2"/>
    <dgm:cxn modelId="{4DA1DF9A-AE3A-41A4-9BA0-03F31733466E}" srcId="{1D536F90-9D94-4A27-9F51-C82FD9A11C2F}" destId="{2F4C345C-7B78-44E1-AD87-C313C440C685}" srcOrd="4" destOrd="0" parTransId="{DDF8AFDF-0862-4F5B-8803-58E4AD3F21DD}" sibTransId="{ABED826D-4882-40E8-9123-AD6E3A536E01}"/>
    <dgm:cxn modelId="{0B2A3B23-AFC7-482D-BC46-98A2560C53CA}" type="presOf" srcId="{2C047694-1425-4F69-8183-60F6421FAB4F}" destId="{53A56580-53AB-4119-A873-64FB117FAC73}" srcOrd="0" destOrd="0" presId="urn:microsoft.com/office/officeart/2005/8/layout/radial2"/>
    <dgm:cxn modelId="{DDD86FB2-E65F-4F7C-90D5-5BCC0E76AEA2}" type="presOf" srcId="{1D536F90-9D94-4A27-9F51-C82FD9A11C2F}" destId="{BB21E02C-31BC-4702-A16B-A9B6F4CCD77C}" srcOrd="0" destOrd="0" presId="urn:microsoft.com/office/officeart/2005/8/layout/radial2"/>
    <dgm:cxn modelId="{F81BD7FD-7AE4-4C11-A0C7-79230F7A9FF4}" type="presParOf" srcId="{BB21E02C-31BC-4702-A16B-A9B6F4CCD77C}" destId="{B14CD63C-8918-4E62-A872-834C55EAC8DF}" srcOrd="0" destOrd="0" presId="urn:microsoft.com/office/officeart/2005/8/layout/radial2"/>
    <dgm:cxn modelId="{193BCA75-1122-47A4-9FB5-32EC79C095CE}" type="presParOf" srcId="{B14CD63C-8918-4E62-A872-834C55EAC8DF}" destId="{2C3FFBDC-B631-4664-8FEC-E24AC8D401C6}" srcOrd="0" destOrd="0" presId="urn:microsoft.com/office/officeart/2005/8/layout/radial2"/>
    <dgm:cxn modelId="{B220FD26-5ED9-4453-A0A2-91221DC3A8E7}" type="presParOf" srcId="{2C3FFBDC-B631-4664-8FEC-E24AC8D401C6}" destId="{06CE8EE4-FB62-431A-AC35-A70670FEB976}" srcOrd="0" destOrd="0" presId="urn:microsoft.com/office/officeart/2005/8/layout/radial2"/>
    <dgm:cxn modelId="{7A8EBDAF-64BE-4057-9A82-1EE3E95B5479}" type="presParOf" srcId="{2C3FFBDC-B631-4664-8FEC-E24AC8D401C6}" destId="{FC71F3CC-6F7C-4FD9-89F6-3A0D3986A03E}" srcOrd="1" destOrd="0" presId="urn:microsoft.com/office/officeart/2005/8/layout/radial2"/>
    <dgm:cxn modelId="{4897CAC6-FC24-4C9C-A2B0-AC7BF1B40B1C}" type="presParOf" srcId="{B14CD63C-8918-4E62-A872-834C55EAC8DF}" destId="{E31FC0D6-738E-4190-BF08-EED059DFC30A}" srcOrd="1" destOrd="0" presId="urn:microsoft.com/office/officeart/2005/8/layout/radial2"/>
    <dgm:cxn modelId="{3EC021DC-62E4-4BE8-9633-3D6A107313A1}" type="presParOf" srcId="{B14CD63C-8918-4E62-A872-834C55EAC8DF}" destId="{D14C94C3-FC7E-47B3-A532-763F56253308}" srcOrd="2" destOrd="0" presId="urn:microsoft.com/office/officeart/2005/8/layout/radial2"/>
    <dgm:cxn modelId="{1CE66729-E2A3-498C-BFBB-B5030E9ABADD}" type="presParOf" srcId="{D14C94C3-FC7E-47B3-A532-763F56253308}" destId="{53A56580-53AB-4119-A873-64FB117FAC73}" srcOrd="0" destOrd="0" presId="urn:microsoft.com/office/officeart/2005/8/layout/radial2"/>
    <dgm:cxn modelId="{5230C0F6-2A28-4544-B47D-828A2322DBF9}" type="presParOf" srcId="{D14C94C3-FC7E-47B3-A532-763F56253308}" destId="{C538D094-64CB-4BC7-853E-656E99B0213E}" srcOrd="1" destOrd="0" presId="urn:microsoft.com/office/officeart/2005/8/layout/radial2"/>
    <dgm:cxn modelId="{A94519AD-EB8C-415C-952A-6E23A94ACC32}" type="presParOf" srcId="{B14CD63C-8918-4E62-A872-834C55EAC8DF}" destId="{B8261B57-87BA-4BED-89DD-C5EC8FEC8F35}" srcOrd="3" destOrd="0" presId="urn:microsoft.com/office/officeart/2005/8/layout/radial2"/>
    <dgm:cxn modelId="{71D40957-2D74-4A05-BC17-18BC71D70232}" type="presParOf" srcId="{B14CD63C-8918-4E62-A872-834C55EAC8DF}" destId="{45916740-FE3A-45C4-94FA-1E3953C8D197}" srcOrd="4" destOrd="0" presId="urn:microsoft.com/office/officeart/2005/8/layout/radial2"/>
    <dgm:cxn modelId="{5570F3EC-E5BF-405E-B25C-3E90BF141B20}" type="presParOf" srcId="{45916740-FE3A-45C4-94FA-1E3953C8D197}" destId="{A820738C-8376-4292-B407-7E5ABEBDEBA9}" srcOrd="0" destOrd="0" presId="urn:microsoft.com/office/officeart/2005/8/layout/radial2"/>
    <dgm:cxn modelId="{1543516F-CA05-4184-8CD2-653271D8A958}" type="presParOf" srcId="{45916740-FE3A-45C4-94FA-1E3953C8D197}" destId="{166CF510-76C4-427A-8FE6-59A95A241D77}" srcOrd="1" destOrd="0" presId="urn:microsoft.com/office/officeart/2005/8/layout/radial2"/>
    <dgm:cxn modelId="{CB0DE528-5EF8-44B0-AA27-5B6BDC1DD9AC}" type="presParOf" srcId="{B14CD63C-8918-4E62-A872-834C55EAC8DF}" destId="{D3CFD6D8-7D3E-432A-A2E9-ADC031DA58D5}" srcOrd="5" destOrd="0" presId="urn:microsoft.com/office/officeart/2005/8/layout/radial2"/>
    <dgm:cxn modelId="{57444710-19FE-4A77-BC3A-8645C413FE0C}" type="presParOf" srcId="{B14CD63C-8918-4E62-A872-834C55EAC8DF}" destId="{585A1FF2-566D-4E5A-A84A-DF3CF2980F4C}" srcOrd="6" destOrd="0" presId="urn:microsoft.com/office/officeart/2005/8/layout/radial2"/>
    <dgm:cxn modelId="{B13E5E18-CAC9-470A-A8EE-B60F3355960F}" type="presParOf" srcId="{585A1FF2-566D-4E5A-A84A-DF3CF2980F4C}" destId="{0489115D-2C61-464C-9CE4-42C9C3BE2519}" srcOrd="0" destOrd="0" presId="urn:microsoft.com/office/officeart/2005/8/layout/radial2"/>
    <dgm:cxn modelId="{FE86C8D1-E634-4424-850E-6EC783D252C0}" type="presParOf" srcId="{585A1FF2-566D-4E5A-A84A-DF3CF2980F4C}" destId="{2E102246-BBE6-4E87-85A4-A8165C81EDD6}" srcOrd="1" destOrd="0" presId="urn:microsoft.com/office/officeart/2005/8/layout/radial2"/>
    <dgm:cxn modelId="{7AF32D33-98CC-4228-B504-2834C677FA55}" type="presParOf" srcId="{B14CD63C-8918-4E62-A872-834C55EAC8DF}" destId="{D80C2924-CA33-4A0D-B1A0-37401485A450}" srcOrd="7" destOrd="0" presId="urn:microsoft.com/office/officeart/2005/8/layout/radial2"/>
    <dgm:cxn modelId="{F5FDAFEE-47F6-4B1D-9ACA-B2DC26263CB7}" type="presParOf" srcId="{B14CD63C-8918-4E62-A872-834C55EAC8DF}" destId="{F1ED19B4-98E9-4F9A-807C-0BC5B1DC405D}" srcOrd="8" destOrd="0" presId="urn:microsoft.com/office/officeart/2005/8/layout/radial2"/>
    <dgm:cxn modelId="{968010FC-6EC9-4D91-A6C7-759DA08A84ED}" type="presParOf" srcId="{F1ED19B4-98E9-4F9A-807C-0BC5B1DC405D}" destId="{15A962D0-B628-4C30-9908-F646FF162783}" srcOrd="0" destOrd="0" presId="urn:microsoft.com/office/officeart/2005/8/layout/radial2"/>
    <dgm:cxn modelId="{F63CEC4F-523B-477B-A58F-107DB2E364EA}" type="presParOf" srcId="{F1ED19B4-98E9-4F9A-807C-0BC5B1DC405D}" destId="{17F207B0-97A6-4BF9-B667-19C1DAF84DE4}" srcOrd="1" destOrd="0" presId="urn:microsoft.com/office/officeart/2005/8/layout/radial2"/>
    <dgm:cxn modelId="{69576B10-CCA8-47C8-812B-E018B309E81E}" type="presParOf" srcId="{B14CD63C-8918-4E62-A872-834C55EAC8DF}" destId="{2B19FB60-F7E5-4339-914E-7CBB691E44C3}" srcOrd="9" destOrd="0" presId="urn:microsoft.com/office/officeart/2005/8/layout/radial2"/>
    <dgm:cxn modelId="{33CCE2DA-3A44-4BDC-9D4D-99830BA76516}" type="presParOf" srcId="{B14CD63C-8918-4E62-A872-834C55EAC8DF}" destId="{16F3E808-A0CF-4C95-808C-162AB791352A}" srcOrd="10" destOrd="0" presId="urn:microsoft.com/office/officeart/2005/8/layout/radial2"/>
    <dgm:cxn modelId="{06BF2AD7-891A-4A76-A2BA-575C5492373E}" type="presParOf" srcId="{16F3E808-A0CF-4C95-808C-162AB791352A}" destId="{74BF9B37-B887-4C33-87BE-6E0DE47D9CC5}" srcOrd="0" destOrd="0" presId="urn:microsoft.com/office/officeart/2005/8/layout/radial2"/>
    <dgm:cxn modelId="{1AE735D3-A092-4981-BF85-BA64D9EB3CC8}" type="presParOf" srcId="{16F3E808-A0CF-4C95-808C-162AB791352A}" destId="{2E3FC8D5-0728-433D-B668-E28899BD3258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EF5B933-D10C-4067-9276-E7C92560DC2C}" type="doc">
      <dgm:prSet loTypeId="urn:microsoft.com/office/officeart/2005/8/layout/lProcess2" loCatId="list" qsTypeId="urn:microsoft.com/office/officeart/2005/8/quickstyle/simple1#2" qsCatId="simple" csTypeId="urn:microsoft.com/office/officeart/2005/8/colors/accent0_3" csCatId="mainScheme" phldr="1"/>
      <dgm:spPr/>
      <dgm:t>
        <a:bodyPr/>
        <a:lstStyle/>
        <a:p>
          <a:endParaRPr lang="pt-BR"/>
        </a:p>
      </dgm:t>
    </dgm:pt>
    <dgm:pt modelId="{C8D3735C-966B-4606-BFA1-F55A9F816108}">
      <dgm:prSet phldrT="[Texto]" custT="1"/>
      <dgm:spPr>
        <a:xfrm>
          <a:off x="59272" y="0"/>
          <a:ext cx="3639758" cy="4201610"/>
        </a:xfrm>
        <a:prstGeom prst="roundRect">
          <a:avLst>
            <a:gd name="adj" fmla="val 10000"/>
          </a:avLst>
        </a:prstGeom>
        <a:solidFill>
          <a:srgbClr val="5B9BD5">
            <a:lumMod val="20000"/>
            <a:lumOff val="80000"/>
          </a:srgbClr>
        </a:solidFill>
        <a:ln>
          <a:noFill/>
        </a:ln>
        <a:effectLst/>
      </dgm:spPr>
      <dgm:t>
        <a:bodyPr/>
        <a:lstStyle/>
        <a:p>
          <a:r>
            <a:rPr lang="pt-BR" sz="3600" b="1" dirty="0" smtClean="0">
              <a:solidFill>
                <a:srgbClr val="4472C4">
                  <a:lumMod val="50000"/>
                </a:srgbClr>
              </a:solidFill>
              <a:latin typeface="Century Gothic" pitchFamily="34" charset="0"/>
              <a:ea typeface="+mn-ea"/>
              <a:cs typeface="+mn-cs"/>
            </a:rPr>
            <a:t>1º ANO</a:t>
          </a:r>
          <a:endParaRPr lang="pt-BR" sz="3600" b="1" dirty="0">
            <a:solidFill>
              <a:srgbClr val="4472C4">
                <a:lumMod val="50000"/>
              </a:srgbClr>
            </a:solidFill>
            <a:latin typeface="Century Gothic" pitchFamily="34" charset="0"/>
            <a:ea typeface="+mn-ea"/>
            <a:cs typeface="+mn-cs"/>
          </a:endParaRPr>
        </a:p>
      </dgm:t>
    </dgm:pt>
    <dgm:pt modelId="{CE8E3DE1-9E46-4F16-BE69-30A3CDBD2BEC}" type="parTrans" cxnId="{A5888693-9F7F-49EB-BE5A-AF95CF720A8A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73ED0520-B195-454D-88C0-8434F5BF5553}" type="sibTrans" cxnId="{A5888693-9F7F-49EB-BE5A-AF95CF720A8A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502BA8CD-D9B6-4F77-BE4F-A6BFEA4D94B8}">
      <dgm:prSet phldrT="[Texto]" custT="1"/>
      <dgm:spPr>
        <a:xfrm>
          <a:off x="150630" y="2097972"/>
          <a:ext cx="3341298" cy="1123536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EP – Formação tecnológica: fundamentos técnicos e científicos</a:t>
          </a:r>
        </a:p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Iniciação profissional</a:t>
          </a:r>
          <a:endParaRPr lang="pt-BR" sz="1600" b="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gm:t>
    </dgm:pt>
    <dgm:pt modelId="{5119BD57-2B1D-4FC0-A1E7-C0D868A859EF}" type="parTrans" cxnId="{41254432-29BD-4D95-8501-BBAD2EF5714B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DD20FFAE-E751-4EFC-BC70-FCE0D50F01A1}" type="sibTrans" cxnId="{41254432-29BD-4D95-8501-BBAD2EF5714B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E35007D5-E0D5-4D53-8F91-5052C1C133B0}">
      <dgm:prSet phldrT="[Texto]" custT="1"/>
      <dgm:spPr>
        <a:xfrm>
          <a:off x="169847" y="3324087"/>
          <a:ext cx="3302862" cy="666759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90% BNCC – 900h</a:t>
          </a:r>
        </a:p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10% EP – 100h</a:t>
          </a:r>
          <a:endParaRPr lang="pt-BR" sz="1600" b="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gm:t>
    </dgm:pt>
    <dgm:pt modelId="{F6F218DC-9BDF-40E9-A830-1D7C1018F845}" type="parTrans" cxnId="{6514AB06-FB82-46A3-8574-675DE1C343C4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253718F9-651C-4A26-994C-D60BE656BF33}" type="sibTrans" cxnId="{6514AB06-FB82-46A3-8574-675DE1C343C4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065CE7BD-0972-4620-AF77-394BA19E5400}">
      <dgm:prSet phldrT="[Texto]" custT="1"/>
      <dgm:spPr>
        <a:xfrm>
          <a:off x="3914140" y="0"/>
          <a:ext cx="3639758" cy="4201610"/>
        </a:xfrm>
        <a:prstGeom prst="roundRect">
          <a:avLst>
            <a:gd name="adj" fmla="val 10000"/>
          </a:avLst>
        </a:prstGeom>
        <a:solidFill>
          <a:srgbClr val="5B9BD5">
            <a:lumMod val="20000"/>
            <a:lumOff val="80000"/>
          </a:srgbClr>
        </a:solidFill>
        <a:ln>
          <a:noFill/>
        </a:ln>
        <a:effectLst/>
      </dgm:spPr>
      <dgm:t>
        <a:bodyPr/>
        <a:lstStyle/>
        <a:p>
          <a:r>
            <a:rPr lang="pt-BR" sz="3600" b="1" dirty="0" smtClean="0">
              <a:solidFill>
                <a:srgbClr val="4472C4">
                  <a:lumMod val="50000"/>
                </a:srgbClr>
              </a:solidFill>
              <a:latin typeface="Century Gothic" pitchFamily="34" charset="0"/>
              <a:ea typeface="+mn-ea"/>
              <a:cs typeface="+mn-cs"/>
            </a:rPr>
            <a:t>2º ANO</a:t>
          </a:r>
          <a:endParaRPr lang="pt-BR" sz="3600" b="1" dirty="0">
            <a:solidFill>
              <a:srgbClr val="4472C4">
                <a:lumMod val="50000"/>
              </a:srgbClr>
            </a:solidFill>
            <a:latin typeface="Century Gothic" pitchFamily="34" charset="0"/>
            <a:ea typeface="+mn-ea"/>
            <a:cs typeface="+mn-cs"/>
          </a:endParaRPr>
        </a:p>
      </dgm:t>
    </dgm:pt>
    <dgm:pt modelId="{E16B19EB-0328-4FFD-AC26-B9A553894587}" type="parTrans" cxnId="{C2DE049C-461C-4E95-8A27-5A2DC38367D0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9F766650-60FB-4CC7-8D00-F9DF53C3B083}" type="sibTrans" cxnId="{C2DE049C-461C-4E95-8A27-5A2DC38367D0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7361E41B-6F8A-423C-BC31-3B3068C81F77}">
      <dgm:prSet phldrT="[Texto]" custT="1"/>
      <dgm:spPr>
        <a:xfrm>
          <a:off x="7828280" y="0"/>
          <a:ext cx="3639758" cy="4201610"/>
        </a:xfrm>
        <a:prstGeom prst="roundRect">
          <a:avLst>
            <a:gd name="adj" fmla="val 10000"/>
          </a:avLst>
        </a:prstGeom>
        <a:solidFill>
          <a:srgbClr val="5B9BD5">
            <a:lumMod val="20000"/>
            <a:lumOff val="80000"/>
          </a:srgbClr>
        </a:solidFill>
        <a:ln>
          <a:noFill/>
        </a:ln>
        <a:effectLst/>
      </dgm:spPr>
      <dgm:t>
        <a:bodyPr/>
        <a:lstStyle/>
        <a:p>
          <a:r>
            <a:rPr lang="pt-BR" sz="3600" b="1" dirty="0" smtClean="0">
              <a:solidFill>
                <a:srgbClr val="4472C4">
                  <a:lumMod val="50000"/>
                </a:srgbClr>
              </a:solidFill>
              <a:latin typeface="Century Gothic" pitchFamily="34" charset="0"/>
              <a:ea typeface="+mn-ea"/>
              <a:cs typeface="+mn-cs"/>
            </a:rPr>
            <a:t>3º ANO</a:t>
          </a:r>
          <a:endParaRPr lang="pt-BR" sz="3600" b="1" dirty="0">
            <a:solidFill>
              <a:srgbClr val="4472C4">
                <a:lumMod val="50000"/>
              </a:srgbClr>
            </a:solidFill>
            <a:latin typeface="Century Gothic" pitchFamily="34" charset="0"/>
            <a:ea typeface="+mn-ea"/>
            <a:cs typeface="+mn-cs"/>
          </a:endParaRPr>
        </a:p>
      </dgm:t>
    </dgm:pt>
    <dgm:pt modelId="{B7175B88-70ED-49C0-869A-A98C9D55F29F}" type="parTrans" cxnId="{659C1E1E-AC03-4C6D-B43B-A75774CCE44E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5E8CFB4F-6743-416F-A1FD-F46DD4D9639A}" type="sibTrans" cxnId="{659C1E1E-AC03-4C6D-B43B-A75774CCE44E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0DB84460-0BC1-4623-B4E9-7ED71CF9AE42}">
      <dgm:prSet phldrT="[Texto]" custT="1"/>
      <dgm:spPr>
        <a:xfrm>
          <a:off x="7973899" y="3250085"/>
          <a:ext cx="3494139" cy="748032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30% BNCC – 300h</a:t>
          </a:r>
        </a:p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70% EP – 700h</a:t>
          </a:r>
          <a:endParaRPr lang="pt-BR" sz="1600" b="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gm:t>
    </dgm:pt>
    <dgm:pt modelId="{99DE1C35-42B5-4D0A-B31D-4A1A9020A681}" type="parTrans" cxnId="{814F1026-185A-4F5B-894F-9A5F92FA6C48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678EAD6D-B448-4BFA-A0CE-99E001498439}" type="sibTrans" cxnId="{814F1026-185A-4F5B-894F-9A5F92FA6C48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E5707A8E-56B4-43E4-AF79-12A9FB067F99}">
      <dgm:prSet phldrT="[Texto]" custT="1"/>
      <dgm:spPr>
        <a:xfrm>
          <a:off x="4135350" y="3250646"/>
          <a:ext cx="3197338" cy="740235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60% BNCC – 600h</a:t>
          </a:r>
        </a:p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40% EP – 400h</a:t>
          </a:r>
          <a:endParaRPr lang="pt-BR" sz="1600" b="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gm:t>
    </dgm:pt>
    <dgm:pt modelId="{23649E9D-53BA-415B-9C94-478DC492A5CC}" type="parTrans" cxnId="{E216AE75-C6AD-48FC-A517-BFD180D5A901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CC1F7DE8-2F87-4484-9581-7436F265A58F}" type="sibTrans" cxnId="{E216AE75-C6AD-48FC-A517-BFD180D5A901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9BB6BA21-474E-4367-BBBE-D43C2B635BEE}">
      <dgm:prSet phldrT="[Texto]" custT="1"/>
      <dgm:spPr>
        <a:xfrm>
          <a:off x="169847" y="1261165"/>
          <a:ext cx="3302862" cy="734228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8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BNCC – Formação Básica por área de conhecimento</a:t>
          </a:r>
          <a:endParaRPr lang="pt-BR" sz="1800" b="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gm:t>
    </dgm:pt>
    <dgm:pt modelId="{3155B719-1B4C-4FAC-A34D-7CEC47FC803E}" type="parTrans" cxnId="{3C28483D-7F71-4E24-93C5-75C33D6C32EB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45078558-C331-4ECB-82F7-B6FDB663CE26}" type="sibTrans" cxnId="{3C28483D-7F71-4E24-93C5-75C33D6C32EB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7C3EBA98-F6A9-4875-8C01-91BEFC04D627}">
      <dgm:prSet phldrT="[Texto]" custT="1"/>
      <dgm:spPr>
        <a:xfrm>
          <a:off x="4098632" y="2354646"/>
          <a:ext cx="3270774" cy="802346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EP – Formação tecnológica: Capacidades técnicas </a:t>
          </a:r>
        </a:p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Qualificação técnica</a:t>
          </a:r>
        </a:p>
      </dgm:t>
    </dgm:pt>
    <dgm:pt modelId="{EB89BF28-66B6-41E5-AD94-6FBAF2102C7E}" type="parTrans" cxnId="{626BE677-611C-4383-B4DA-D8E08514ADE3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FBF8A505-ACA4-4405-85FF-04DB1D10592E}" type="sibTrans" cxnId="{626BE677-611C-4383-B4DA-D8E08514ADE3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FE293F50-14B3-4687-809A-7997E3C5E1EE}">
      <dgm:prSet phldrT="[Texto]" custT="1"/>
      <dgm:spPr>
        <a:xfrm>
          <a:off x="7976110" y="2380607"/>
          <a:ext cx="3341298" cy="765625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EP – Formação tecnológica: Capacidades técnicas </a:t>
          </a:r>
        </a:p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Habilitação Profissional</a:t>
          </a:r>
          <a:endParaRPr lang="pt-BR" sz="1600" b="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gm:t>
    </dgm:pt>
    <dgm:pt modelId="{C68C8883-AFAC-445B-B96E-5C70E5943269}" type="parTrans" cxnId="{F54AAAA2-F22C-4B44-A8E5-D6FFC407F358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3A3BE2CF-FA98-46DD-AEEC-F64570F406DA}" type="sibTrans" cxnId="{F54AAAA2-F22C-4B44-A8E5-D6FFC407F358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7D8A8DAD-9CBE-42B7-B9B0-43BFB0B923A1}">
      <dgm:prSet phldrT="[Texto]" custT="1"/>
      <dgm:spPr>
        <a:xfrm>
          <a:off x="4082588" y="1261130"/>
          <a:ext cx="3302862" cy="999861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BNCC – Formação Básica por área de conhecimento</a:t>
          </a:r>
          <a:endParaRPr lang="pt-BR" sz="1600" b="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gm:t>
    </dgm:pt>
    <dgm:pt modelId="{897653A3-68BC-4BCF-B559-18F08A55DCDA}" type="parTrans" cxnId="{4AAB4495-A5A9-4C7B-B1FF-0A62EE3F7F67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9B2172C2-56CF-488E-B4D9-A847028B48C7}" type="sibTrans" cxnId="{4AAB4495-A5A9-4C7B-B1FF-0A62EE3F7F67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D9275D27-102B-49BA-9125-52324D2F2222}">
      <dgm:prSet phldrT="[Texto]" custT="1"/>
      <dgm:spPr>
        <a:xfrm>
          <a:off x="7995328" y="1261939"/>
          <a:ext cx="3302862" cy="1022859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pt-BR" sz="1600" b="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BNCC – Formação Básica por área de conhecimento</a:t>
          </a:r>
          <a:endParaRPr lang="pt-BR" sz="1600" b="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gm:t>
    </dgm:pt>
    <dgm:pt modelId="{8399FF16-AD4E-46DA-95F3-C65A5C69115D}" type="parTrans" cxnId="{B2780925-4D70-47A1-8EDE-5B7B7FF4F3E4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633369D7-B9EC-4512-908D-C88352BDE14F}" type="sibTrans" cxnId="{B2780925-4D70-47A1-8EDE-5B7B7FF4F3E4}">
      <dgm:prSet/>
      <dgm:spPr/>
      <dgm:t>
        <a:bodyPr/>
        <a:lstStyle/>
        <a:p>
          <a:endParaRPr lang="pt-BR">
            <a:latin typeface="Century Gothic" pitchFamily="34" charset="0"/>
          </a:endParaRPr>
        </a:p>
      </dgm:t>
    </dgm:pt>
    <dgm:pt modelId="{1D95D5B5-1846-4F26-BBF3-FCA846B0CDC5}" type="pres">
      <dgm:prSet presAssocID="{EEF5B933-D10C-4067-9276-E7C92560DC2C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4B980E40-B78E-4541-8255-D9CDA3B9AE37}" type="pres">
      <dgm:prSet presAssocID="{C8D3735C-966B-4606-BFA1-F55A9F816108}" presName="compNode" presStyleCnt="0"/>
      <dgm:spPr/>
    </dgm:pt>
    <dgm:pt modelId="{CDAB324A-A669-4D7A-B8C7-18638EB5950C}" type="pres">
      <dgm:prSet presAssocID="{C8D3735C-966B-4606-BFA1-F55A9F816108}" presName="aNode" presStyleLbl="bgShp" presStyleIdx="0" presStyleCnt="3" custLinFactNeighborX="1590"/>
      <dgm:spPr/>
      <dgm:t>
        <a:bodyPr/>
        <a:lstStyle/>
        <a:p>
          <a:endParaRPr lang="pt-BR"/>
        </a:p>
      </dgm:t>
    </dgm:pt>
    <dgm:pt modelId="{02EFA539-ED5E-4C5A-87D4-1866E2FDBF81}" type="pres">
      <dgm:prSet presAssocID="{C8D3735C-966B-4606-BFA1-F55A9F816108}" presName="textNode" presStyleLbl="bgShp" presStyleIdx="0" presStyleCnt="3"/>
      <dgm:spPr/>
      <dgm:t>
        <a:bodyPr/>
        <a:lstStyle/>
        <a:p>
          <a:endParaRPr lang="pt-BR"/>
        </a:p>
      </dgm:t>
    </dgm:pt>
    <dgm:pt modelId="{AF433428-7B3B-45ED-92DC-8314F8BE0B3B}" type="pres">
      <dgm:prSet presAssocID="{C8D3735C-966B-4606-BFA1-F55A9F816108}" presName="compChildNode" presStyleCnt="0"/>
      <dgm:spPr/>
    </dgm:pt>
    <dgm:pt modelId="{132DA744-38FB-4AE4-9F37-CC203AC48C2B}" type="pres">
      <dgm:prSet presAssocID="{C8D3735C-966B-4606-BFA1-F55A9F816108}" presName="theInnerList" presStyleCnt="0"/>
      <dgm:spPr/>
    </dgm:pt>
    <dgm:pt modelId="{18F74A77-22EC-493D-9A18-09DE0B9A51D0}" type="pres">
      <dgm:prSet presAssocID="{9BB6BA21-474E-4367-BBBE-D43C2B635BEE}" presName="childNode" presStyleLbl="node1" presStyleIdx="0" presStyleCnt="9" custScaleX="113430" custScaleY="11011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4460E69-03FA-455D-B70D-80ED8D469F2A}" type="pres">
      <dgm:prSet presAssocID="{9BB6BA21-474E-4367-BBBE-D43C2B635BEE}" presName="aSpace2" presStyleCnt="0"/>
      <dgm:spPr/>
    </dgm:pt>
    <dgm:pt modelId="{0C7AA5D8-DE0F-48FF-BB25-7FA8C89C6538}" type="pres">
      <dgm:prSet presAssocID="{502BA8CD-D9B6-4F77-BE4F-A6BFEA4D94B8}" presName="childNode" presStyleLbl="node1" presStyleIdx="1" presStyleCnt="9" custAng="0" custScaleX="114750" custScaleY="16850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D184F92-44FE-4DE7-A485-EC6E190C925B}" type="pres">
      <dgm:prSet presAssocID="{502BA8CD-D9B6-4F77-BE4F-A6BFEA4D94B8}" presName="aSpace2" presStyleCnt="0"/>
      <dgm:spPr/>
    </dgm:pt>
    <dgm:pt modelId="{333E7FA7-D5BC-4353-9187-2EF0E9AD30F7}" type="pres">
      <dgm:prSet presAssocID="{E35007D5-E0D5-4D53-8F91-5052C1C133B0}" presName="childNode" presStyleLbl="node1" presStyleIdx="2" presStyleCnt="9" custScaleX="11343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84A466D-A567-4688-A5CE-A21F0EC7B7DA}" type="pres">
      <dgm:prSet presAssocID="{C8D3735C-966B-4606-BFA1-F55A9F816108}" presName="aSpace" presStyleCnt="0"/>
      <dgm:spPr/>
    </dgm:pt>
    <dgm:pt modelId="{4543EA46-317C-4196-8F12-1E104ECA8C21}" type="pres">
      <dgm:prSet presAssocID="{065CE7BD-0972-4620-AF77-394BA19E5400}" presName="compNode" presStyleCnt="0"/>
      <dgm:spPr/>
    </dgm:pt>
    <dgm:pt modelId="{98555483-8963-44CF-A30F-A37A943BF277}" type="pres">
      <dgm:prSet presAssocID="{065CE7BD-0972-4620-AF77-394BA19E5400}" presName="aNode" presStyleLbl="bgShp" presStyleIdx="1" presStyleCnt="3"/>
      <dgm:spPr/>
      <dgm:t>
        <a:bodyPr/>
        <a:lstStyle/>
        <a:p>
          <a:endParaRPr lang="pt-BR"/>
        </a:p>
      </dgm:t>
    </dgm:pt>
    <dgm:pt modelId="{621C6622-0C3D-4A68-88BC-C4FF3FE917A4}" type="pres">
      <dgm:prSet presAssocID="{065CE7BD-0972-4620-AF77-394BA19E5400}" presName="textNode" presStyleLbl="bgShp" presStyleIdx="1" presStyleCnt="3"/>
      <dgm:spPr/>
      <dgm:t>
        <a:bodyPr/>
        <a:lstStyle/>
        <a:p>
          <a:endParaRPr lang="pt-BR"/>
        </a:p>
      </dgm:t>
    </dgm:pt>
    <dgm:pt modelId="{5C3ECD86-6C1C-4890-BA5A-EF855AAF64FE}" type="pres">
      <dgm:prSet presAssocID="{065CE7BD-0972-4620-AF77-394BA19E5400}" presName="compChildNode" presStyleCnt="0"/>
      <dgm:spPr/>
    </dgm:pt>
    <dgm:pt modelId="{16C6AD05-CDCE-457A-8972-F67D512A7258}" type="pres">
      <dgm:prSet presAssocID="{065CE7BD-0972-4620-AF77-394BA19E5400}" presName="theInnerList" presStyleCnt="0"/>
      <dgm:spPr/>
    </dgm:pt>
    <dgm:pt modelId="{895715DA-367B-4C97-92D2-B1FA2DA8814A}" type="pres">
      <dgm:prSet presAssocID="{7D8A8DAD-9CBE-42B7-B9B0-43BFB0B923A1}" presName="childNode" presStyleLbl="node1" presStyleIdx="3" presStyleCnt="9" custScaleX="113430" custScaleY="16424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5E9A420-B306-4B6C-B74C-5AC6C5FEE9A1}" type="pres">
      <dgm:prSet presAssocID="{7D8A8DAD-9CBE-42B7-B9B0-43BFB0B923A1}" presName="aSpace2" presStyleCnt="0"/>
      <dgm:spPr/>
    </dgm:pt>
    <dgm:pt modelId="{77B3AC0A-684F-4F4A-89EF-B3E7A5A84069}" type="pres">
      <dgm:prSet presAssocID="{7C3EBA98-F6A9-4875-8C01-91BEFC04D627}" presName="childNode" presStyleLbl="node1" presStyleIdx="4" presStyleCnt="9" custScaleX="112328" custScaleY="13180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0F9672C-FFB9-48B8-B3C4-C1B677483F26}" type="pres">
      <dgm:prSet presAssocID="{7C3EBA98-F6A9-4875-8C01-91BEFC04D627}" presName="aSpace2" presStyleCnt="0"/>
      <dgm:spPr/>
    </dgm:pt>
    <dgm:pt modelId="{EA534238-1B4E-4DB7-9614-4FDBDBB91362}" type="pres">
      <dgm:prSet presAssocID="{E5707A8E-56B4-43E4-AF79-12A9FB067F99}" presName="childNode" presStyleLbl="node1" presStyleIdx="5" presStyleCnt="9" custScaleX="109806" custScaleY="12159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69672E5-F25E-4616-823B-DCD9C3683317}" type="pres">
      <dgm:prSet presAssocID="{065CE7BD-0972-4620-AF77-394BA19E5400}" presName="aSpace" presStyleCnt="0"/>
      <dgm:spPr/>
    </dgm:pt>
    <dgm:pt modelId="{573ED573-4B3B-455B-8287-D595C8F9D28A}" type="pres">
      <dgm:prSet presAssocID="{7361E41B-6F8A-423C-BC31-3B3068C81F77}" presName="compNode" presStyleCnt="0"/>
      <dgm:spPr/>
    </dgm:pt>
    <dgm:pt modelId="{4DBA3309-1333-4A66-8BD6-AD5F5D5B8305}" type="pres">
      <dgm:prSet presAssocID="{7361E41B-6F8A-423C-BC31-3B3068C81F77}" presName="aNode" presStyleLbl="bgShp" presStyleIdx="2" presStyleCnt="3" custLinFactNeighborX="3574" custLinFactNeighborY="-2427"/>
      <dgm:spPr/>
      <dgm:t>
        <a:bodyPr/>
        <a:lstStyle/>
        <a:p>
          <a:endParaRPr lang="pt-BR"/>
        </a:p>
      </dgm:t>
    </dgm:pt>
    <dgm:pt modelId="{D0446328-EA8B-4F0F-91C9-6DA22826E38F}" type="pres">
      <dgm:prSet presAssocID="{7361E41B-6F8A-423C-BC31-3B3068C81F77}" presName="textNode" presStyleLbl="bgShp" presStyleIdx="2" presStyleCnt="3"/>
      <dgm:spPr/>
      <dgm:t>
        <a:bodyPr/>
        <a:lstStyle/>
        <a:p>
          <a:endParaRPr lang="pt-BR"/>
        </a:p>
      </dgm:t>
    </dgm:pt>
    <dgm:pt modelId="{A9CEF0F9-DB86-48C0-B94B-3B8BC5C14D90}" type="pres">
      <dgm:prSet presAssocID="{7361E41B-6F8A-423C-BC31-3B3068C81F77}" presName="compChildNode" presStyleCnt="0"/>
      <dgm:spPr/>
    </dgm:pt>
    <dgm:pt modelId="{93CC9B30-46D7-45DB-9C13-BC63D8ADE45F}" type="pres">
      <dgm:prSet presAssocID="{7361E41B-6F8A-423C-BC31-3B3068C81F77}" presName="theInnerList" presStyleCnt="0"/>
      <dgm:spPr/>
    </dgm:pt>
    <dgm:pt modelId="{44BE69AB-9637-4DCE-9C2C-177DC65BC87C}" type="pres">
      <dgm:prSet presAssocID="{D9275D27-102B-49BA-9125-52324D2F2222}" presName="childNode" presStyleLbl="node1" presStyleIdx="6" presStyleCnt="9" custScaleX="113430" custScaleY="16424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445249F-DA00-4CDE-B5F9-73B72FAFD89B}" type="pres">
      <dgm:prSet presAssocID="{D9275D27-102B-49BA-9125-52324D2F2222}" presName="aSpace2" presStyleCnt="0"/>
      <dgm:spPr/>
    </dgm:pt>
    <dgm:pt modelId="{479B1B13-4D0A-4573-A571-DDBC5E0A8883}" type="pres">
      <dgm:prSet presAssocID="{FE293F50-14B3-4687-809A-7997E3C5E1EE}" presName="childNode" presStyleLbl="node1" presStyleIdx="7" presStyleCnt="9" custAng="0" custScaleX="114750" custScaleY="12294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1FBAEA5-742E-42A4-A97C-50B3CBCF8688}" type="pres">
      <dgm:prSet presAssocID="{FE293F50-14B3-4687-809A-7997E3C5E1EE}" presName="aSpace2" presStyleCnt="0"/>
      <dgm:spPr/>
    </dgm:pt>
    <dgm:pt modelId="{45EA8BD9-FD5E-4806-B2EE-A9A51A41DDE9}" type="pres">
      <dgm:prSet presAssocID="{0DB84460-0BC1-4623-B4E9-7ED71CF9AE42}" presName="childNode" presStyleLbl="node1" presStyleIdx="8" presStyleCnt="9" custScaleX="119999" custScaleY="120117" custLinFactNeighborX="8530" custLinFactNeighborY="839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6514AB06-FB82-46A3-8574-675DE1C343C4}" srcId="{C8D3735C-966B-4606-BFA1-F55A9F816108}" destId="{E35007D5-E0D5-4D53-8F91-5052C1C133B0}" srcOrd="2" destOrd="0" parTransId="{F6F218DC-9BDF-40E9-A830-1D7C1018F845}" sibTransId="{253718F9-651C-4A26-994C-D60BE656BF33}"/>
    <dgm:cxn modelId="{80940AE9-11E3-4F8E-822B-713A5152177A}" type="presOf" srcId="{065CE7BD-0972-4620-AF77-394BA19E5400}" destId="{98555483-8963-44CF-A30F-A37A943BF277}" srcOrd="0" destOrd="0" presId="urn:microsoft.com/office/officeart/2005/8/layout/lProcess2"/>
    <dgm:cxn modelId="{3C28483D-7F71-4E24-93C5-75C33D6C32EB}" srcId="{C8D3735C-966B-4606-BFA1-F55A9F816108}" destId="{9BB6BA21-474E-4367-BBBE-D43C2B635BEE}" srcOrd="0" destOrd="0" parTransId="{3155B719-1B4C-4FAC-A34D-7CEC47FC803E}" sibTransId="{45078558-C331-4ECB-82F7-B6FDB663CE26}"/>
    <dgm:cxn modelId="{F4084653-C826-4975-B9EE-B6D7F29918D9}" type="presOf" srcId="{FE293F50-14B3-4687-809A-7997E3C5E1EE}" destId="{479B1B13-4D0A-4573-A571-DDBC5E0A8883}" srcOrd="0" destOrd="0" presId="urn:microsoft.com/office/officeart/2005/8/layout/lProcess2"/>
    <dgm:cxn modelId="{27E4824C-6255-4872-8A7F-312A7E836A70}" type="presOf" srcId="{0DB84460-0BC1-4623-B4E9-7ED71CF9AE42}" destId="{45EA8BD9-FD5E-4806-B2EE-A9A51A41DDE9}" srcOrd="0" destOrd="0" presId="urn:microsoft.com/office/officeart/2005/8/layout/lProcess2"/>
    <dgm:cxn modelId="{869151BD-3B75-4D5E-8DAD-2DB72EA60EBF}" type="presOf" srcId="{C8D3735C-966B-4606-BFA1-F55A9F816108}" destId="{CDAB324A-A669-4D7A-B8C7-18638EB5950C}" srcOrd="0" destOrd="0" presId="urn:microsoft.com/office/officeart/2005/8/layout/lProcess2"/>
    <dgm:cxn modelId="{B2780925-4D70-47A1-8EDE-5B7B7FF4F3E4}" srcId="{7361E41B-6F8A-423C-BC31-3B3068C81F77}" destId="{D9275D27-102B-49BA-9125-52324D2F2222}" srcOrd="0" destOrd="0" parTransId="{8399FF16-AD4E-46DA-95F3-C65A5C69115D}" sibTransId="{633369D7-B9EC-4512-908D-C88352BDE14F}"/>
    <dgm:cxn modelId="{7F4CDD75-96A7-4BE7-9908-B4B46D8E331E}" type="presOf" srcId="{E5707A8E-56B4-43E4-AF79-12A9FB067F99}" destId="{EA534238-1B4E-4DB7-9614-4FDBDBB91362}" srcOrd="0" destOrd="0" presId="urn:microsoft.com/office/officeart/2005/8/layout/lProcess2"/>
    <dgm:cxn modelId="{C2DE049C-461C-4E95-8A27-5A2DC38367D0}" srcId="{EEF5B933-D10C-4067-9276-E7C92560DC2C}" destId="{065CE7BD-0972-4620-AF77-394BA19E5400}" srcOrd="1" destOrd="0" parTransId="{E16B19EB-0328-4FFD-AC26-B9A553894587}" sibTransId="{9F766650-60FB-4CC7-8D00-F9DF53C3B083}"/>
    <dgm:cxn modelId="{F54AAAA2-F22C-4B44-A8E5-D6FFC407F358}" srcId="{7361E41B-6F8A-423C-BC31-3B3068C81F77}" destId="{FE293F50-14B3-4687-809A-7997E3C5E1EE}" srcOrd="1" destOrd="0" parTransId="{C68C8883-AFAC-445B-B96E-5C70E5943269}" sibTransId="{3A3BE2CF-FA98-46DD-AEEC-F64570F406DA}"/>
    <dgm:cxn modelId="{41254432-29BD-4D95-8501-BBAD2EF5714B}" srcId="{C8D3735C-966B-4606-BFA1-F55A9F816108}" destId="{502BA8CD-D9B6-4F77-BE4F-A6BFEA4D94B8}" srcOrd="1" destOrd="0" parTransId="{5119BD57-2B1D-4FC0-A1E7-C0D868A859EF}" sibTransId="{DD20FFAE-E751-4EFC-BC70-FCE0D50F01A1}"/>
    <dgm:cxn modelId="{626BE677-611C-4383-B4DA-D8E08514ADE3}" srcId="{065CE7BD-0972-4620-AF77-394BA19E5400}" destId="{7C3EBA98-F6A9-4875-8C01-91BEFC04D627}" srcOrd="1" destOrd="0" parTransId="{EB89BF28-66B6-41E5-AD94-6FBAF2102C7E}" sibTransId="{FBF8A505-ACA4-4405-85FF-04DB1D10592E}"/>
    <dgm:cxn modelId="{BF94137E-3139-4960-A350-1FF81C4D9DDF}" type="presOf" srcId="{E35007D5-E0D5-4D53-8F91-5052C1C133B0}" destId="{333E7FA7-D5BC-4353-9187-2EF0E9AD30F7}" srcOrd="0" destOrd="0" presId="urn:microsoft.com/office/officeart/2005/8/layout/lProcess2"/>
    <dgm:cxn modelId="{E216AE75-C6AD-48FC-A517-BFD180D5A901}" srcId="{065CE7BD-0972-4620-AF77-394BA19E5400}" destId="{E5707A8E-56B4-43E4-AF79-12A9FB067F99}" srcOrd="2" destOrd="0" parTransId="{23649E9D-53BA-415B-9C94-478DC492A5CC}" sibTransId="{CC1F7DE8-2F87-4484-9581-7436F265A58F}"/>
    <dgm:cxn modelId="{D195F8EF-6B78-446C-B2A4-58E94E7C2DF9}" type="presOf" srcId="{C8D3735C-966B-4606-BFA1-F55A9F816108}" destId="{02EFA539-ED5E-4C5A-87D4-1866E2FDBF81}" srcOrd="1" destOrd="0" presId="urn:microsoft.com/office/officeart/2005/8/layout/lProcess2"/>
    <dgm:cxn modelId="{E3DA3AC9-5CFC-4DD7-9179-638E6EF22EB6}" type="presOf" srcId="{9BB6BA21-474E-4367-BBBE-D43C2B635BEE}" destId="{18F74A77-22EC-493D-9A18-09DE0B9A51D0}" srcOrd="0" destOrd="0" presId="urn:microsoft.com/office/officeart/2005/8/layout/lProcess2"/>
    <dgm:cxn modelId="{900C8BA4-741A-4C18-8274-1C26C888C9C5}" type="presOf" srcId="{7C3EBA98-F6A9-4875-8C01-91BEFC04D627}" destId="{77B3AC0A-684F-4F4A-89EF-B3E7A5A84069}" srcOrd="0" destOrd="0" presId="urn:microsoft.com/office/officeart/2005/8/layout/lProcess2"/>
    <dgm:cxn modelId="{57486A5E-2636-40C6-8DB8-495CA3B2E1AB}" type="presOf" srcId="{502BA8CD-D9B6-4F77-BE4F-A6BFEA4D94B8}" destId="{0C7AA5D8-DE0F-48FF-BB25-7FA8C89C6538}" srcOrd="0" destOrd="0" presId="urn:microsoft.com/office/officeart/2005/8/layout/lProcess2"/>
    <dgm:cxn modelId="{1A9C35C3-8DF2-45D7-AA22-8DA1E3917153}" type="presOf" srcId="{EEF5B933-D10C-4067-9276-E7C92560DC2C}" destId="{1D95D5B5-1846-4F26-BBF3-FCA846B0CDC5}" srcOrd="0" destOrd="0" presId="urn:microsoft.com/office/officeart/2005/8/layout/lProcess2"/>
    <dgm:cxn modelId="{659C1E1E-AC03-4C6D-B43B-A75774CCE44E}" srcId="{EEF5B933-D10C-4067-9276-E7C92560DC2C}" destId="{7361E41B-6F8A-423C-BC31-3B3068C81F77}" srcOrd="2" destOrd="0" parTransId="{B7175B88-70ED-49C0-869A-A98C9D55F29F}" sibTransId="{5E8CFB4F-6743-416F-A1FD-F46DD4D9639A}"/>
    <dgm:cxn modelId="{7D651ABA-FE1D-40E7-A5AF-E58065C9D3C9}" type="presOf" srcId="{065CE7BD-0972-4620-AF77-394BA19E5400}" destId="{621C6622-0C3D-4A68-88BC-C4FF3FE917A4}" srcOrd="1" destOrd="0" presId="urn:microsoft.com/office/officeart/2005/8/layout/lProcess2"/>
    <dgm:cxn modelId="{A5888693-9F7F-49EB-BE5A-AF95CF720A8A}" srcId="{EEF5B933-D10C-4067-9276-E7C92560DC2C}" destId="{C8D3735C-966B-4606-BFA1-F55A9F816108}" srcOrd="0" destOrd="0" parTransId="{CE8E3DE1-9E46-4F16-BE69-30A3CDBD2BEC}" sibTransId="{73ED0520-B195-454D-88C0-8434F5BF5553}"/>
    <dgm:cxn modelId="{E621D993-9143-477F-B4C6-366A66CB70E5}" type="presOf" srcId="{7361E41B-6F8A-423C-BC31-3B3068C81F77}" destId="{4DBA3309-1333-4A66-8BD6-AD5F5D5B8305}" srcOrd="0" destOrd="0" presId="urn:microsoft.com/office/officeart/2005/8/layout/lProcess2"/>
    <dgm:cxn modelId="{846BF593-8328-4EB3-8271-5CB99F8B8EF8}" type="presOf" srcId="{7D8A8DAD-9CBE-42B7-B9B0-43BFB0B923A1}" destId="{895715DA-367B-4C97-92D2-B1FA2DA8814A}" srcOrd="0" destOrd="0" presId="urn:microsoft.com/office/officeart/2005/8/layout/lProcess2"/>
    <dgm:cxn modelId="{7C4356BC-952A-4116-B2FE-66B4A7DE4CEC}" type="presOf" srcId="{7361E41B-6F8A-423C-BC31-3B3068C81F77}" destId="{D0446328-EA8B-4F0F-91C9-6DA22826E38F}" srcOrd="1" destOrd="0" presId="urn:microsoft.com/office/officeart/2005/8/layout/lProcess2"/>
    <dgm:cxn modelId="{2731369F-147D-45FB-94C0-A18125253B35}" type="presOf" srcId="{D9275D27-102B-49BA-9125-52324D2F2222}" destId="{44BE69AB-9637-4DCE-9C2C-177DC65BC87C}" srcOrd="0" destOrd="0" presId="urn:microsoft.com/office/officeart/2005/8/layout/lProcess2"/>
    <dgm:cxn modelId="{814F1026-185A-4F5B-894F-9A5F92FA6C48}" srcId="{7361E41B-6F8A-423C-BC31-3B3068C81F77}" destId="{0DB84460-0BC1-4623-B4E9-7ED71CF9AE42}" srcOrd="2" destOrd="0" parTransId="{99DE1C35-42B5-4D0A-B31D-4A1A9020A681}" sibTransId="{678EAD6D-B448-4BFA-A0CE-99E001498439}"/>
    <dgm:cxn modelId="{4AAB4495-A5A9-4C7B-B1FF-0A62EE3F7F67}" srcId="{065CE7BD-0972-4620-AF77-394BA19E5400}" destId="{7D8A8DAD-9CBE-42B7-B9B0-43BFB0B923A1}" srcOrd="0" destOrd="0" parTransId="{897653A3-68BC-4BCF-B559-18F08A55DCDA}" sibTransId="{9B2172C2-56CF-488E-B4D9-A847028B48C7}"/>
    <dgm:cxn modelId="{85C6D0FC-DA08-4782-BAC7-273EA242A43B}" type="presParOf" srcId="{1D95D5B5-1846-4F26-BBF3-FCA846B0CDC5}" destId="{4B980E40-B78E-4541-8255-D9CDA3B9AE37}" srcOrd="0" destOrd="0" presId="urn:microsoft.com/office/officeart/2005/8/layout/lProcess2"/>
    <dgm:cxn modelId="{E90B6143-210B-4FB0-BE04-EA395AADAFDE}" type="presParOf" srcId="{4B980E40-B78E-4541-8255-D9CDA3B9AE37}" destId="{CDAB324A-A669-4D7A-B8C7-18638EB5950C}" srcOrd="0" destOrd="0" presId="urn:microsoft.com/office/officeart/2005/8/layout/lProcess2"/>
    <dgm:cxn modelId="{0463B247-3FB7-4729-8FC2-F8D362BC05B0}" type="presParOf" srcId="{4B980E40-B78E-4541-8255-D9CDA3B9AE37}" destId="{02EFA539-ED5E-4C5A-87D4-1866E2FDBF81}" srcOrd="1" destOrd="0" presId="urn:microsoft.com/office/officeart/2005/8/layout/lProcess2"/>
    <dgm:cxn modelId="{988D2622-E697-47B8-A639-A638F2F072AF}" type="presParOf" srcId="{4B980E40-B78E-4541-8255-D9CDA3B9AE37}" destId="{AF433428-7B3B-45ED-92DC-8314F8BE0B3B}" srcOrd="2" destOrd="0" presId="urn:microsoft.com/office/officeart/2005/8/layout/lProcess2"/>
    <dgm:cxn modelId="{BBF1A828-FE84-4116-AD96-14AAEB876345}" type="presParOf" srcId="{AF433428-7B3B-45ED-92DC-8314F8BE0B3B}" destId="{132DA744-38FB-4AE4-9F37-CC203AC48C2B}" srcOrd="0" destOrd="0" presId="urn:microsoft.com/office/officeart/2005/8/layout/lProcess2"/>
    <dgm:cxn modelId="{393E7831-FF4C-4C7D-B2FD-EB8D3ED8AF11}" type="presParOf" srcId="{132DA744-38FB-4AE4-9F37-CC203AC48C2B}" destId="{18F74A77-22EC-493D-9A18-09DE0B9A51D0}" srcOrd="0" destOrd="0" presId="urn:microsoft.com/office/officeart/2005/8/layout/lProcess2"/>
    <dgm:cxn modelId="{ED3C5197-CB96-4D9C-8F36-557EAE9EBF87}" type="presParOf" srcId="{132DA744-38FB-4AE4-9F37-CC203AC48C2B}" destId="{64460E69-03FA-455D-B70D-80ED8D469F2A}" srcOrd="1" destOrd="0" presId="urn:microsoft.com/office/officeart/2005/8/layout/lProcess2"/>
    <dgm:cxn modelId="{90FA5D38-FF8F-4F64-AFB4-695987489C92}" type="presParOf" srcId="{132DA744-38FB-4AE4-9F37-CC203AC48C2B}" destId="{0C7AA5D8-DE0F-48FF-BB25-7FA8C89C6538}" srcOrd="2" destOrd="0" presId="urn:microsoft.com/office/officeart/2005/8/layout/lProcess2"/>
    <dgm:cxn modelId="{732E4BC4-627E-40AB-9D7D-FFD0A0630341}" type="presParOf" srcId="{132DA744-38FB-4AE4-9F37-CC203AC48C2B}" destId="{9D184F92-44FE-4DE7-A485-EC6E190C925B}" srcOrd="3" destOrd="0" presId="urn:microsoft.com/office/officeart/2005/8/layout/lProcess2"/>
    <dgm:cxn modelId="{F5E99318-C98C-429D-83F1-939B1A859FF7}" type="presParOf" srcId="{132DA744-38FB-4AE4-9F37-CC203AC48C2B}" destId="{333E7FA7-D5BC-4353-9187-2EF0E9AD30F7}" srcOrd="4" destOrd="0" presId="urn:microsoft.com/office/officeart/2005/8/layout/lProcess2"/>
    <dgm:cxn modelId="{5D5B9B09-ACA8-48AC-83D4-7F9AB176053C}" type="presParOf" srcId="{1D95D5B5-1846-4F26-BBF3-FCA846B0CDC5}" destId="{684A466D-A567-4688-A5CE-A21F0EC7B7DA}" srcOrd="1" destOrd="0" presId="urn:microsoft.com/office/officeart/2005/8/layout/lProcess2"/>
    <dgm:cxn modelId="{610698D7-D7AF-408F-A2A4-3885F580F442}" type="presParOf" srcId="{1D95D5B5-1846-4F26-BBF3-FCA846B0CDC5}" destId="{4543EA46-317C-4196-8F12-1E104ECA8C21}" srcOrd="2" destOrd="0" presId="urn:microsoft.com/office/officeart/2005/8/layout/lProcess2"/>
    <dgm:cxn modelId="{890B04E3-72AD-42FA-9B96-01AFF3561BD3}" type="presParOf" srcId="{4543EA46-317C-4196-8F12-1E104ECA8C21}" destId="{98555483-8963-44CF-A30F-A37A943BF277}" srcOrd="0" destOrd="0" presId="urn:microsoft.com/office/officeart/2005/8/layout/lProcess2"/>
    <dgm:cxn modelId="{FAF94E6B-E7D8-48A4-A178-1D2AA61000F1}" type="presParOf" srcId="{4543EA46-317C-4196-8F12-1E104ECA8C21}" destId="{621C6622-0C3D-4A68-88BC-C4FF3FE917A4}" srcOrd="1" destOrd="0" presId="urn:microsoft.com/office/officeart/2005/8/layout/lProcess2"/>
    <dgm:cxn modelId="{85E868EB-6244-4233-88D5-0B4BF7032F84}" type="presParOf" srcId="{4543EA46-317C-4196-8F12-1E104ECA8C21}" destId="{5C3ECD86-6C1C-4890-BA5A-EF855AAF64FE}" srcOrd="2" destOrd="0" presId="urn:microsoft.com/office/officeart/2005/8/layout/lProcess2"/>
    <dgm:cxn modelId="{9C7F0401-15E9-41EE-99DA-235C2E4C778B}" type="presParOf" srcId="{5C3ECD86-6C1C-4890-BA5A-EF855AAF64FE}" destId="{16C6AD05-CDCE-457A-8972-F67D512A7258}" srcOrd="0" destOrd="0" presId="urn:microsoft.com/office/officeart/2005/8/layout/lProcess2"/>
    <dgm:cxn modelId="{8AF0E412-68F9-4B8F-AF2B-5408484ABFF5}" type="presParOf" srcId="{16C6AD05-CDCE-457A-8972-F67D512A7258}" destId="{895715DA-367B-4C97-92D2-B1FA2DA8814A}" srcOrd="0" destOrd="0" presId="urn:microsoft.com/office/officeart/2005/8/layout/lProcess2"/>
    <dgm:cxn modelId="{7D6ADE5C-9BF2-48BB-9DCF-7110E550CE58}" type="presParOf" srcId="{16C6AD05-CDCE-457A-8972-F67D512A7258}" destId="{25E9A420-B306-4B6C-B74C-5AC6C5FEE9A1}" srcOrd="1" destOrd="0" presId="urn:microsoft.com/office/officeart/2005/8/layout/lProcess2"/>
    <dgm:cxn modelId="{074BD54B-27C4-478B-A457-CFBA6A4A1DAD}" type="presParOf" srcId="{16C6AD05-CDCE-457A-8972-F67D512A7258}" destId="{77B3AC0A-684F-4F4A-89EF-B3E7A5A84069}" srcOrd="2" destOrd="0" presId="urn:microsoft.com/office/officeart/2005/8/layout/lProcess2"/>
    <dgm:cxn modelId="{5CE94790-1FB0-405D-ACD4-3E8A7B49C1CB}" type="presParOf" srcId="{16C6AD05-CDCE-457A-8972-F67D512A7258}" destId="{F0F9672C-FFB9-48B8-B3C4-C1B677483F26}" srcOrd="3" destOrd="0" presId="urn:microsoft.com/office/officeart/2005/8/layout/lProcess2"/>
    <dgm:cxn modelId="{CDDBB623-8BE5-4339-BAEA-B30622FAB417}" type="presParOf" srcId="{16C6AD05-CDCE-457A-8972-F67D512A7258}" destId="{EA534238-1B4E-4DB7-9614-4FDBDBB91362}" srcOrd="4" destOrd="0" presId="urn:microsoft.com/office/officeart/2005/8/layout/lProcess2"/>
    <dgm:cxn modelId="{FC45A25A-D48B-45D5-9076-B3DC16B390D6}" type="presParOf" srcId="{1D95D5B5-1846-4F26-BBF3-FCA846B0CDC5}" destId="{969672E5-F25E-4616-823B-DCD9C3683317}" srcOrd="3" destOrd="0" presId="urn:microsoft.com/office/officeart/2005/8/layout/lProcess2"/>
    <dgm:cxn modelId="{4431EAC4-ED29-4855-8D12-D91A5ED6E85A}" type="presParOf" srcId="{1D95D5B5-1846-4F26-BBF3-FCA846B0CDC5}" destId="{573ED573-4B3B-455B-8287-D595C8F9D28A}" srcOrd="4" destOrd="0" presId="urn:microsoft.com/office/officeart/2005/8/layout/lProcess2"/>
    <dgm:cxn modelId="{7DED7E69-DBCE-4CE1-9700-E8F249216078}" type="presParOf" srcId="{573ED573-4B3B-455B-8287-D595C8F9D28A}" destId="{4DBA3309-1333-4A66-8BD6-AD5F5D5B8305}" srcOrd="0" destOrd="0" presId="urn:microsoft.com/office/officeart/2005/8/layout/lProcess2"/>
    <dgm:cxn modelId="{A6202F53-BFCD-47EA-A9B2-166437F787A7}" type="presParOf" srcId="{573ED573-4B3B-455B-8287-D595C8F9D28A}" destId="{D0446328-EA8B-4F0F-91C9-6DA22826E38F}" srcOrd="1" destOrd="0" presId="urn:microsoft.com/office/officeart/2005/8/layout/lProcess2"/>
    <dgm:cxn modelId="{E7DB2D86-A270-4721-A6B0-0B5D6A406C5A}" type="presParOf" srcId="{573ED573-4B3B-455B-8287-D595C8F9D28A}" destId="{A9CEF0F9-DB86-48C0-B94B-3B8BC5C14D90}" srcOrd="2" destOrd="0" presId="urn:microsoft.com/office/officeart/2005/8/layout/lProcess2"/>
    <dgm:cxn modelId="{BD39271B-A9E1-4C83-BF52-763AE8AA3B9B}" type="presParOf" srcId="{A9CEF0F9-DB86-48C0-B94B-3B8BC5C14D90}" destId="{93CC9B30-46D7-45DB-9C13-BC63D8ADE45F}" srcOrd="0" destOrd="0" presId="urn:microsoft.com/office/officeart/2005/8/layout/lProcess2"/>
    <dgm:cxn modelId="{663895CC-46A3-4E40-88D9-DE5EBCF89411}" type="presParOf" srcId="{93CC9B30-46D7-45DB-9C13-BC63D8ADE45F}" destId="{44BE69AB-9637-4DCE-9C2C-177DC65BC87C}" srcOrd="0" destOrd="0" presId="urn:microsoft.com/office/officeart/2005/8/layout/lProcess2"/>
    <dgm:cxn modelId="{212F30BA-436A-4EBF-BC75-2574022CA3FF}" type="presParOf" srcId="{93CC9B30-46D7-45DB-9C13-BC63D8ADE45F}" destId="{B445249F-DA00-4CDE-B5F9-73B72FAFD89B}" srcOrd="1" destOrd="0" presId="urn:microsoft.com/office/officeart/2005/8/layout/lProcess2"/>
    <dgm:cxn modelId="{C8172F60-BBD8-4835-9A51-1C146FE40744}" type="presParOf" srcId="{93CC9B30-46D7-45DB-9C13-BC63D8ADE45F}" destId="{479B1B13-4D0A-4573-A571-DDBC5E0A8883}" srcOrd="2" destOrd="0" presId="urn:microsoft.com/office/officeart/2005/8/layout/lProcess2"/>
    <dgm:cxn modelId="{701284B9-D6D3-481C-B919-096AE474B60E}" type="presParOf" srcId="{93CC9B30-46D7-45DB-9C13-BC63D8ADE45F}" destId="{41FBAEA5-742E-42A4-A97C-50B3CBCF8688}" srcOrd="3" destOrd="0" presId="urn:microsoft.com/office/officeart/2005/8/layout/lProcess2"/>
    <dgm:cxn modelId="{F622C728-88CD-4928-AD82-06CB218DD864}" type="presParOf" srcId="{93CC9B30-46D7-45DB-9C13-BC63D8ADE45F}" destId="{45EA8BD9-FD5E-4806-B2EE-A9A51A41DDE9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19FB60-F7E5-4339-914E-7CBB691E44C3}">
      <dsp:nvSpPr>
        <dsp:cNvPr id="0" name=""/>
        <dsp:cNvSpPr/>
      </dsp:nvSpPr>
      <dsp:spPr>
        <a:xfrm rot="2014235">
          <a:off x="2229426" y="3306833"/>
          <a:ext cx="2270415" cy="3155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051673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0C2924-CA33-4A0D-B1A0-37401485A450}">
      <dsp:nvSpPr>
        <dsp:cNvPr id="0" name=""/>
        <dsp:cNvSpPr/>
      </dsp:nvSpPr>
      <dsp:spPr>
        <a:xfrm rot="1014434">
          <a:off x="2368479" y="2846496"/>
          <a:ext cx="2327159" cy="3155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253363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CFD6D8-7D3E-432A-A2E9-ADC031DA58D5}">
      <dsp:nvSpPr>
        <dsp:cNvPr id="0" name=""/>
        <dsp:cNvSpPr/>
      </dsp:nvSpPr>
      <dsp:spPr>
        <a:xfrm rot="25931">
          <a:off x="2418742" y="2375322"/>
          <a:ext cx="2158719" cy="3155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252603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261B57-87BA-4BED-89DD-C5EC8FEC8F35}">
      <dsp:nvSpPr>
        <dsp:cNvPr id="0" name=""/>
        <dsp:cNvSpPr/>
      </dsp:nvSpPr>
      <dsp:spPr>
        <a:xfrm rot="20636059">
          <a:off x="2373933" y="1908951"/>
          <a:ext cx="2296256" cy="3155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236077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1FC0D6-738E-4190-BF08-EED059DFC30A}">
      <dsp:nvSpPr>
        <dsp:cNvPr id="0" name=""/>
        <dsp:cNvSpPr/>
      </dsp:nvSpPr>
      <dsp:spPr>
        <a:xfrm rot="19624739">
          <a:off x="2232068" y="1423887"/>
          <a:ext cx="2325386" cy="31552"/>
        </a:xfrm>
        <a:custGeom>
          <a:avLst/>
          <a:gdLst/>
          <a:ahLst/>
          <a:cxnLst/>
          <a:rect l="0" t="0" r="0" b="0"/>
          <a:pathLst>
            <a:path>
              <a:moveTo>
                <a:pt x="0" y="16611"/>
              </a:moveTo>
              <a:lnTo>
                <a:pt x="2127617" y="16611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71F3CC-6F7C-4FD9-89F6-3A0D3986A03E}">
      <dsp:nvSpPr>
        <dsp:cNvPr id="0" name=""/>
        <dsp:cNvSpPr/>
      </dsp:nvSpPr>
      <dsp:spPr>
        <a:xfrm>
          <a:off x="700614" y="1699834"/>
          <a:ext cx="1932011" cy="1328892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A56580-53AB-4119-A873-64FB117FAC73}">
      <dsp:nvSpPr>
        <dsp:cNvPr id="0" name=""/>
        <dsp:cNvSpPr/>
      </dsp:nvSpPr>
      <dsp:spPr>
        <a:xfrm>
          <a:off x="3759397" y="6258"/>
          <a:ext cx="2377492" cy="855338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Linguagens</a:t>
          </a:r>
          <a:endParaRPr lang="pt-BR" sz="18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4107573" y="131519"/>
        <a:ext cx="1681140" cy="604816"/>
      </dsp:txXfrm>
    </dsp:sp>
    <dsp:sp modelId="{A820738C-8376-4292-B407-7E5ABEBDEBA9}">
      <dsp:nvSpPr>
        <dsp:cNvPr id="0" name=""/>
        <dsp:cNvSpPr/>
      </dsp:nvSpPr>
      <dsp:spPr>
        <a:xfrm>
          <a:off x="4364638" y="912065"/>
          <a:ext cx="2377492" cy="855338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atemática</a:t>
          </a:r>
          <a:endParaRPr lang="pt-BR" sz="18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4712814" y="1037326"/>
        <a:ext cx="1681140" cy="604816"/>
      </dsp:txXfrm>
    </dsp:sp>
    <dsp:sp modelId="{0489115D-2C61-464C-9CE4-42C9C3BE2519}">
      <dsp:nvSpPr>
        <dsp:cNvPr id="0" name=""/>
        <dsp:cNvSpPr/>
      </dsp:nvSpPr>
      <dsp:spPr>
        <a:xfrm>
          <a:off x="4577170" y="1980536"/>
          <a:ext cx="2377492" cy="855338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Ciências da natureza</a:t>
          </a:r>
          <a:endParaRPr lang="pt-BR" sz="18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4925346" y="2105797"/>
        <a:ext cx="1681140" cy="604816"/>
      </dsp:txXfrm>
    </dsp:sp>
    <dsp:sp modelId="{15A962D0-B628-4C30-9908-F646FF162783}">
      <dsp:nvSpPr>
        <dsp:cNvPr id="0" name=""/>
        <dsp:cNvSpPr/>
      </dsp:nvSpPr>
      <dsp:spPr>
        <a:xfrm>
          <a:off x="4364638" y="3049007"/>
          <a:ext cx="2377492" cy="855338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Ciências Humanas</a:t>
          </a:r>
          <a:endParaRPr lang="pt-BR" sz="18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4712814" y="3174268"/>
        <a:ext cx="1681140" cy="604816"/>
      </dsp:txXfrm>
    </dsp:sp>
    <dsp:sp modelId="{74BF9B37-B887-4C33-87BE-6E0DE47D9CC5}">
      <dsp:nvSpPr>
        <dsp:cNvPr id="0" name=""/>
        <dsp:cNvSpPr/>
      </dsp:nvSpPr>
      <dsp:spPr>
        <a:xfrm>
          <a:off x="3537303" y="3907002"/>
          <a:ext cx="2732843" cy="874074"/>
        </a:xfrm>
        <a:prstGeom prst="ellipse">
          <a:avLst/>
        </a:prstGeom>
        <a:solidFill>
          <a:srgbClr val="ED7D31">
            <a:lumMod val="75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Formação técnica e profissional</a:t>
          </a:r>
          <a:endParaRPr lang="pt-BR" sz="18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3937519" y="4035007"/>
        <a:ext cx="1932411" cy="6180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AB324A-A669-4D7A-B8C7-18638EB5950C}">
      <dsp:nvSpPr>
        <dsp:cNvPr id="0" name=""/>
        <dsp:cNvSpPr/>
      </dsp:nvSpPr>
      <dsp:spPr>
        <a:xfrm>
          <a:off x="59272" y="0"/>
          <a:ext cx="3639758" cy="4201610"/>
        </a:xfrm>
        <a:prstGeom prst="roundRect">
          <a:avLst>
            <a:gd name="adj" fmla="val 10000"/>
          </a:avLst>
        </a:prstGeom>
        <a:solidFill>
          <a:srgbClr val="5B9BD5">
            <a:lumMod val="20000"/>
            <a:lumOff val="8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600" b="1" kern="1200" dirty="0" smtClean="0">
              <a:solidFill>
                <a:srgbClr val="4472C4">
                  <a:lumMod val="50000"/>
                </a:srgbClr>
              </a:solidFill>
              <a:latin typeface="Century Gothic" pitchFamily="34" charset="0"/>
              <a:ea typeface="+mn-ea"/>
              <a:cs typeface="+mn-cs"/>
            </a:rPr>
            <a:t>1º ANO</a:t>
          </a:r>
          <a:endParaRPr lang="pt-BR" sz="3600" b="1" kern="1200" dirty="0">
            <a:solidFill>
              <a:srgbClr val="4472C4">
                <a:lumMod val="50000"/>
              </a:srgbClr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96190" y="36918"/>
        <a:ext cx="3565922" cy="1186647"/>
      </dsp:txXfrm>
    </dsp:sp>
    <dsp:sp modelId="{18F74A77-22EC-493D-9A18-09DE0B9A51D0}">
      <dsp:nvSpPr>
        <dsp:cNvPr id="0" name=""/>
        <dsp:cNvSpPr/>
      </dsp:nvSpPr>
      <dsp:spPr>
        <a:xfrm>
          <a:off x="169847" y="1261165"/>
          <a:ext cx="3302862" cy="734228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BNCC – Formação Básica por área de conhecimento</a:t>
          </a:r>
          <a:endParaRPr lang="pt-BR" sz="1800" b="0" kern="120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191352" y="1282670"/>
        <a:ext cx="3259852" cy="691218"/>
      </dsp:txXfrm>
    </dsp:sp>
    <dsp:sp modelId="{0C7AA5D8-DE0F-48FF-BB25-7FA8C89C6538}">
      <dsp:nvSpPr>
        <dsp:cNvPr id="0" name=""/>
        <dsp:cNvSpPr/>
      </dsp:nvSpPr>
      <dsp:spPr>
        <a:xfrm>
          <a:off x="150630" y="2097972"/>
          <a:ext cx="3341298" cy="1123536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EP – Formação tecnológica: fundamentos técnicos e científicos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Iniciação profissional</a:t>
          </a:r>
          <a:endParaRPr lang="pt-BR" sz="1600" b="0" kern="120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183537" y="2130879"/>
        <a:ext cx="3275484" cy="1057722"/>
      </dsp:txXfrm>
    </dsp:sp>
    <dsp:sp modelId="{333E7FA7-D5BC-4353-9187-2EF0E9AD30F7}">
      <dsp:nvSpPr>
        <dsp:cNvPr id="0" name=""/>
        <dsp:cNvSpPr/>
      </dsp:nvSpPr>
      <dsp:spPr>
        <a:xfrm>
          <a:off x="169847" y="3324087"/>
          <a:ext cx="3302862" cy="666759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90% BNCC – 900h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10% EP – 100h</a:t>
          </a:r>
          <a:endParaRPr lang="pt-BR" sz="1600" b="0" kern="120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189376" y="3343616"/>
        <a:ext cx="3263804" cy="627701"/>
      </dsp:txXfrm>
    </dsp:sp>
    <dsp:sp modelId="{98555483-8963-44CF-A30F-A37A943BF277}">
      <dsp:nvSpPr>
        <dsp:cNvPr id="0" name=""/>
        <dsp:cNvSpPr/>
      </dsp:nvSpPr>
      <dsp:spPr>
        <a:xfrm>
          <a:off x="3914140" y="0"/>
          <a:ext cx="3639758" cy="4201610"/>
        </a:xfrm>
        <a:prstGeom prst="roundRect">
          <a:avLst>
            <a:gd name="adj" fmla="val 10000"/>
          </a:avLst>
        </a:prstGeom>
        <a:solidFill>
          <a:srgbClr val="5B9BD5">
            <a:lumMod val="20000"/>
            <a:lumOff val="8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600" b="1" kern="1200" dirty="0" smtClean="0">
              <a:solidFill>
                <a:srgbClr val="4472C4">
                  <a:lumMod val="50000"/>
                </a:srgbClr>
              </a:solidFill>
              <a:latin typeface="Century Gothic" pitchFamily="34" charset="0"/>
              <a:ea typeface="+mn-ea"/>
              <a:cs typeface="+mn-cs"/>
            </a:rPr>
            <a:t>2º ANO</a:t>
          </a:r>
          <a:endParaRPr lang="pt-BR" sz="3600" b="1" kern="1200" dirty="0">
            <a:solidFill>
              <a:srgbClr val="4472C4">
                <a:lumMod val="50000"/>
              </a:srgbClr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3951058" y="36918"/>
        <a:ext cx="3565922" cy="1186647"/>
      </dsp:txXfrm>
    </dsp:sp>
    <dsp:sp modelId="{895715DA-367B-4C97-92D2-B1FA2DA8814A}">
      <dsp:nvSpPr>
        <dsp:cNvPr id="0" name=""/>
        <dsp:cNvSpPr/>
      </dsp:nvSpPr>
      <dsp:spPr>
        <a:xfrm>
          <a:off x="4082588" y="1261130"/>
          <a:ext cx="3302862" cy="999861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BNCC – Formação Básica por área de conhecimento</a:t>
          </a:r>
          <a:endParaRPr lang="pt-BR" sz="1600" b="0" kern="120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4111873" y="1290415"/>
        <a:ext cx="3244292" cy="941291"/>
      </dsp:txXfrm>
    </dsp:sp>
    <dsp:sp modelId="{77B3AC0A-684F-4F4A-89EF-B3E7A5A84069}">
      <dsp:nvSpPr>
        <dsp:cNvPr id="0" name=""/>
        <dsp:cNvSpPr/>
      </dsp:nvSpPr>
      <dsp:spPr>
        <a:xfrm>
          <a:off x="4098632" y="2354646"/>
          <a:ext cx="3270774" cy="802346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EP – Formação tecnológica: Capacidades técnicas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Qualificação técnica</a:t>
          </a:r>
        </a:p>
      </dsp:txBody>
      <dsp:txXfrm>
        <a:off x="4122132" y="2378146"/>
        <a:ext cx="3223774" cy="755346"/>
      </dsp:txXfrm>
    </dsp:sp>
    <dsp:sp modelId="{EA534238-1B4E-4DB7-9614-4FDBDBB91362}">
      <dsp:nvSpPr>
        <dsp:cNvPr id="0" name=""/>
        <dsp:cNvSpPr/>
      </dsp:nvSpPr>
      <dsp:spPr>
        <a:xfrm>
          <a:off x="4135350" y="3250646"/>
          <a:ext cx="3197338" cy="740235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60% BNCC – 600h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40% EP – 400h</a:t>
          </a:r>
          <a:endParaRPr lang="pt-BR" sz="1600" b="0" kern="120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4157031" y="3272327"/>
        <a:ext cx="3153976" cy="696873"/>
      </dsp:txXfrm>
    </dsp:sp>
    <dsp:sp modelId="{4DBA3309-1333-4A66-8BD6-AD5F5D5B8305}">
      <dsp:nvSpPr>
        <dsp:cNvPr id="0" name=""/>
        <dsp:cNvSpPr/>
      </dsp:nvSpPr>
      <dsp:spPr>
        <a:xfrm>
          <a:off x="7828280" y="0"/>
          <a:ext cx="3639758" cy="4201610"/>
        </a:xfrm>
        <a:prstGeom prst="roundRect">
          <a:avLst>
            <a:gd name="adj" fmla="val 10000"/>
          </a:avLst>
        </a:prstGeom>
        <a:solidFill>
          <a:srgbClr val="5B9BD5">
            <a:lumMod val="20000"/>
            <a:lumOff val="8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600" b="1" kern="1200" dirty="0" smtClean="0">
              <a:solidFill>
                <a:srgbClr val="4472C4">
                  <a:lumMod val="50000"/>
                </a:srgbClr>
              </a:solidFill>
              <a:latin typeface="Century Gothic" pitchFamily="34" charset="0"/>
              <a:ea typeface="+mn-ea"/>
              <a:cs typeface="+mn-cs"/>
            </a:rPr>
            <a:t>3º ANO</a:t>
          </a:r>
          <a:endParaRPr lang="pt-BR" sz="3600" b="1" kern="1200" dirty="0">
            <a:solidFill>
              <a:srgbClr val="4472C4">
                <a:lumMod val="50000"/>
              </a:srgbClr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7865198" y="36918"/>
        <a:ext cx="3565922" cy="1186647"/>
      </dsp:txXfrm>
    </dsp:sp>
    <dsp:sp modelId="{44BE69AB-9637-4DCE-9C2C-177DC65BC87C}">
      <dsp:nvSpPr>
        <dsp:cNvPr id="0" name=""/>
        <dsp:cNvSpPr/>
      </dsp:nvSpPr>
      <dsp:spPr>
        <a:xfrm>
          <a:off x="7995328" y="1261939"/>
          <a:ext cx="3302862" cy="1022859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BNCC – Formação Básica por área de conhecimento</a:t>
          </a:r>
          <a:endParaRPr lang="pt-BR" sz="1600" b="0" kern="120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8025287" y="1291898"/>
        <a:ext cx="3242944" cy="962941"/>
      </dsp:txXfrm>
    </dsp:sp>
    <dsp:sp modelId="{479B1B13-4D0A-4573-A571-DDBC5E0A8883}">
      <dsp:nvSpPr>
        <dsp:cNvPr id="0" name=""/>
        <dsp:cNvSpPr/>
      </dsp:nvSpPr>
      <dsp:spPr>
        <a:xfrm>
          <a:off x="7976110" y="2380607"/>
          <a:ext cx="3341298" cy="765625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EP – Formação tecnológica: Capacidades técnicas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Habilitação Profissional</a:t>
          </a:r>
          <a:endParaRPr lang="pt-BR" sz="1600" b="0" kern="120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7998534" y="2403031"/>
        <a:ext cx="3296450" cy="720777"/>
      </dsp:txXfrm>
    </dsp:sp>
    <dsp:sp modelId="{45EA8BD9-FD5E-4806-B2EE-A9A51A41DDE9}">
      <dsp:nvSpPr>
        <dsp:cNvPr id="0" name=""/>
        <dsp:cNvSpPr/>
      </dsp:nvSpPr>
      <dsp:spPr>
        <a:xfrm>
          <a:off x="7973899" y="3250085"/>
          <a:ext cx="3494139" cy="748032"/>
        </a:xfrm>
        <a:prstGeom prst="roundRect">
          <a:avLst>
            <a:gd name="adj" fmla="val 10000"/>
          </a:avLst>
        </a:prstGeom>
        <a:solidFill>
          <a:srgbClr val="4472C4">
            <a:lumMod val="50000"/>
          </a:srgbClr>
        </a:solidFill>
        <a:ln w="12700" cap="flat" cmpd="sng" algn="ctr">
          <a:solidFill>
            <a:srgbClr val="E7E6E6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30% BNCC – 300h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0" kern="1200" dirty="0" smtClean="0">
              <a:solidFill>
                <a:sysClr val="window" lastClr="FFFFFF"/>
              </a:solidFill>
              <a:latin typeface="Century Gothic" pitchFamily="34" charset="0"/>
              <a:ea typeface="+mn-ea"/>
              <a:cs typeface="+mn-cs"/>
            </a:rPr>
            <a:t>70% EP – 700h</a:t>
          </a:r>
          <a:endParaRPr lang="pt-BR" sz="1600" b="0" kern="1200" dirty="0">
            <a:solidFill>
              <a:sysClr val="window" lastClr="FFFFFF"/>
            </a:solidFill>
            <a:latin typeface="Century Gothic" pitchFamily="34" charset="0"/>
            <a:ea typeface="+mn-ea"/>
            <a:cs typeface="+mn-cs"/>
          </a:endParaRPr>
        </a:p>
      </dsp:txBody>
      <dsp:txXfrm>
        <a:off x="7995808" y="3271994"/>
        <a:ext cx="3450321" cy="7042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9575" cy="496888"/>
          </a:xfrm>
          <a:prstGeom prst="rect">
            <a:avLst/>
          </a:prstGeom>
        </p:spPr>
        <p:txBody>
          <a:bodyPr vert="horz" lIns="91388" tIns="45693" rIns="91388" bIns="45693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54452" y="0"/>
            <a:ext cx="2949575" cy="496888"/>
          </a:xfrm>
          <a:prstGeom prst="rect">
            <a:avLst/>
          </a:prstGeom>
        </p:spPr>
        <p:txBody>
          <a:bodyPr vert="horz" lIns="91388" tIns="45693" rIns="91388" bIns="45693" rtlCol="0"/>
          <a:lstStyle>
            <a:lvl1pPr algn="r">
              <a:defRPr sz="1200"/>
            </a:lvl1pPr>
          </a:lstStyle>
          <a:p>
            <a:fld id="{5F02E4C3-08DB-4F25-B13E-D3E0DDB03606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3" y="9445625"/>
            <a:ext cx="2949575" cy="496888"/>
          </a:xfrm>
          <a:prstGeom prst="rect">
            <a:avLst/>
          </a:prstGeom>
        </p:spPr>
        <p:txBody>
          <a:bodyPr vert="horz" lIns="91388" tIns="45693" rIns="91388" bIns="45693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54452" y="9445625"/>
            <a:ext cx="2949575" cy="496888"/>
          </a:xfrm>
          <a:prstGeom prst="rect">
            <a:avLst/>
          </a:prstGeom>
        </p:spPr>
        <p:txBody>
          <a:bodyPr vert="horz" lIns="91388" tIns="45693" rIns="91388" bIns="45693" rtlCol="0" anchor="b"/>
          <a:lstStyle>
            <a:lvl1pPr algn="r">
              <a:defRPr sz="1200"/>
            </a:lvl1pPr>
          </a:lstStyle>
          <a:p>
            <a:fld id="{CA552C29-9553-433F-A7A8-2F1461D9CDA0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50755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9099" cy="497205"/>
          </a:xfrm>
          <a:prstGeom prst="rect">
            <a:avLst/>
          </a:prstGeom>
        </p:spPr>
        <p:txBody>
          <a:bodyPr vert="horz" lIns="91388" tIns="45693" rIns="91388" bIns="45693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4944" y="2"/>
            <a:ext cx="2949099" cy="497205"/>
          </a:xfrm>
          <a:prstGeom prst="rect">
            <a:avLst/>
          </a:prstGeom>
        </p:spPr>
        <p:txBody>
          <a:bodyPr vert="horz" lIns="91388" tIns="45693" rIns="91388" bIns="45693" rtlCol="0"/>
          <a:lstStyle>
            <a:lvl1pPr algn="r">
              <a:defRPr sz="1200"/>
            </a:lvl1pPr>
          </a:lstStyle>
          <a:p>
            <a:fld id="{FEDCDDEA-3908-45CF-9C28-6EDBAE2AE446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88" tIns="45693" rIns="91388" bIns="45693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0562" y="4723450"/>
            <a:ext cx="5444490" cy="4474845"/>
          </a:xfrm>
          <a:prstGeom prst="rect">
            <a:avLst/>
          </a:prstGeom>
        </p:spPr>
        <p:txBody>
          <a:bodyPr vert="horz" lIns="91388" tIns="45693" rIns="91388" bIns="45693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4" y="9445173"/>
            <a:ext cx="2949099" cy="497205"/>
          </a:xfrm>
          <a:prstGeom prst="rect">
            <a:avLst/>
          </a:prstGeom>
        </p:spPr>
        <p:txBody>
          <a:bodyPr vert="horz" lIns="91388" tIns="45693" rIns="91388" bIns="45693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4944" y="9445173"/>
            <a:ext cx="2949099" cy="497205"/>
          </a:xfrm>
          <a:prstGeom prst="rect">
            <a:avLst/>
          </a:prstGeom>
        </p:spPr>
        <p:txBody>
          <a:bodyPr vert="horz" lIns="91388" tIns="45693" rIns="91388" bIns="45693" rtlCol="0" anchor="b"/>
          <a:lstStyle>
            <a:lvl1pPr algn="r">
              <a:defRPr sz="1200"/>
            </a:lvl1pPr>
          </a:lstStyle>
          <a:p>
            <a:fld id="{5319595F-A6C1-4E79-8119-6B9C0006673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678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638" y="517525"/>
            <a:ext cx="6275387" cy="3530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8314" y="5191689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7492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2863" y="725488"/>
            <a:ext cx="6438900" cy="3622675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83493">
              <a:defRPr/>
            </a:pPr>
            <a:r>
              <a:rPr lang="pt-BR" dirty="0">
                <a:solidFill>
                  <a:schemeClr val="tx2"/>
                </a:solidFill>
                <a:latin typeface="Century Gothic" pitchFamily="34" charset="0"/>
              </a:rPr>
              <a:t>A OCDE avaliou 76 países, 1/3 dos países do mundo, por meio do desempenho de alunos de 15 anos em testes de ciências e matemática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>
                <a:solidFill>
                  <a:prstClr val="black"/>
                </a:solidFill>
              </a:rPr>
              <a:pPr/>
              <a:t>19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92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638" y="517525"/>
            <a:ext cx="6275387" cy="3530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8314" y="5191689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4227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638" y="517525"/>
            <a:ext cx="6275387" cy="3530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8314" y="5191689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2271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638" y="517525"/>
            <a:ext cx="6275387" cy="3530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8314" y="5191689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5259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638" y="517525"/>
            <a:ext cx="6275387" cy="3530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8314" y="5191689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057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638" y="517525"/>
            <a:ext cx="6275387" cy="3530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8314" y="5191689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609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638" y="517525"/>
            <a:ext cx="6275387" cy="3530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8314" y="5191689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7133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638" y="517525"/>
            <a:ext cx="6275387" cy="3530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8314" y="5191689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098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2863" y="725488"/>
            <a:ext cx="6438900" cy="3622675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83493">
              <a:defRPr/>
            </a:pPr>
            <a:r>
              <a:rPr lang="pt-BR" dirty="0">
                <a:solidFill>
                  <a:schemeClr val="tx2"/>
                </a:solidFill>
                <a:latin typeface="Century Gothic" pitchFamily="34" charset="0"/>
              </a:rPr>
              <a:t>A OCDE avaliou 76 países, 1/3 dos países do mundo, por meio do desempenho de alunos de 15 anos em testes de ciências e matemática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>
                <a:solidFill>
                  <a:prstClr val="black"/>
                </a:solidFill>
              </a:rPr>
              <a:pPr/>
              <a:t>10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5227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1866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468664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9089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263" y="733425"/>
            <a:ext cx="6508750" cy="3662363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28314" y="5191688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9730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5754688"/>
            <a:ext cx="12207875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300038"/>
            <a:ext cx="1019503" cy="10953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019508" y="274638"/>
            <a:ext cx="10615285" cy="1143000"/>
          </a:xfrm>
        </p:spPr>
        <p:txBody>
          <a:bodyPr>
            <a:normAutofit/>
          </a:bodyPr>
          <a:lstStyle>
            <a:lvl1pPr algn="l">
              <a:defRPr lang="en-US" sz="4400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019508" y="1600204"/>
            <a:ext cx="10615285" cy="3802117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88284" y="2364830"/>
            <a:ext cx="630621" cy="58857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60622" y="649077"/>
            <a:ext cx="394193" cy="394137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8298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2700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32378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 userDrawn="1"/>
        </p:nvSpPr>
        <p:spPr>
          <a:xfrm>
            <a:off x="0" y="6525344"/>
            <a:ext cx="4847861" cy="3326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5542916" y="6525345"/>
            <a:ext cx="32951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0" cap="none" spc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</a:rPr>
              <a:t>Diretoria de Educação e Tecnologia - DIRET</a:t>
            </a:r>
            <a:endParaRPr lang="pt-BR" sz="1400" b="0" cap="none" spc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5400000" flipH="1">
            <a:off x="2259258" y="4077375"/>
            <a:ext cx="521367" cy="50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Imagem 9" descr="IDV Planejamento Estratégico Integrado_Fase 2 V2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092273" y="188640"/>
            <a:ext cx="1753793" cy="648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759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"/>
            <a:ext cx="12192000" cy="685771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23200" y="4074160"/>
            <a:ext cx="10520160" cy="11854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ts val="3600"/>
              </a:lnSpc>
              <a:spcBef>
                <a:spcPts val="0"/>
              </a:spcBef>
              <a:buNone/>
              <a:defRPr sz="3200">
                <a:solidFill>
                  <a:srgbClr val="003B5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subtitle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123200" y="889200"/>
            <a:ext cx="10520160" cy="318496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r">
              <a:lnSpc>
                <a:spcPts val="9000"/>
              </a:lnSpc>
              <a:defRPr sz="96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</a:t>
            </a:r>
            <a:br>
              <a:rPr lang="en-US" dirty="0" smtClean="0"/>
            </a:br>
            <a:r>
              <a:rPr lang="en-US" dirty="0" smtClean="0"/>
              <a:t>edit titl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80171" y="7014110"/>
            <a:ext cx="4114800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rgbClr val="8383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mtClean="0"/>
              <a:t>WSI_filename - Demo Template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40000" y="6930526"/>
            <a:ext cx="360000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45CC6C2-2EFE-4F8E-A6C1-ED43C6889947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r>
              <a:rPr lang="en-GB" smtClean="0">
                <a:solidFill>
                  <a:prstClr val="white"/>
                </a:solidFill>
              </a:rPr>
              <a:t> 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001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68" b="1773"/>
          <a:stretch/>
        </p:blipFill>
        <p:spPr>
          <a:xfrm>
            <a:off x="0" y="286"/>
            <a:ext cx="12192000" cy="685771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"/>
            <a:ext cx="12192000" cy="68577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3575" y="4546600"/>
            <a:ext cx="6134100" cy="1325563"/>
          </a:xfrm>
          <a:prstGeom prst="rect">
            <a:avLst/>
          </a:prstGeom>
        </p:spPr>
        <p:txBody>
          <a:bodyPr anchor="ctr"/>
          <a:lstStyle>
            <a:lvl1pPr algn="r">
              <a:defRPr sz="3600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 Master title styl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80171" y="7022819"/>
            <a:ext cx="4114800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rgbClr val="8383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mtClean="0"/>
              <a:t>WSI_filename - Demo Template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40000" y="6939235"/>
            <a:ext cx="360000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45CC6C2-2EFE-4F8E-A6C1-ED43C6889947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r>
              <a:rPr lang="en-GB" smtClean="0">
                <a:solidFill>
                  <a:prstClr val="white"/>
                </a:solidFill>
              </a:rPr>
              <a:t> 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4533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20000" y="404240"/>
            <a:ext cx="9235120" cy="63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600"/>
              </a:lnSpc>
              <a:defRPr sz="3600" b="1" i="0" cap="all" baseline="0">
                <a:solidFill>
                  <a:srgbClr val="003B5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20000" y="1034240"/>
            <a:ext cx="9235120" cy="46858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23875" indent="-34290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utiger LT Com 45 Light" panose="020B0303030504020204" pitchFamily="34" charset="0"/>
              </a:defRPr>
            </a:lvl2pPr>
            <a:lvl3pPr marL="361950" indent="0">
              <a:buNone/>
              <a:defRPr sz="2400">
                <a:solidFill>
                  <a:schemeClr val="tx1"/>
                </a:solidFill>
                <a:latin typeface="Frutiger LT Com 45 Light" panose="020B0303030504020204" pitchFamily="34" charset="0"/>
              </a:defRPr>
            </a:lvl3pPr>
            <a:lvl4pPr marL="714375" indent="-171450">
              <a:defRPr sz="2400">
                <a:solidFill>
                  <a:schemeClr val="tx1"/>
                </a:solidFill>
                <a:latin typeface="Frutiger LT Com 45 Light" panose="020B0303030504020204" pitchFamily="34" charset="0"/>
              </a:defRPr>
            </a:lvl4pPr>
            <a:lvl5pPr marL="895350" indent="-180975">
              <a:defRPr sz="2400">
                <a:solidFill>
                  <a:schemeClr val="tx1"/>
                </a:solidFill>
                <a:latin typeface="Frutiger LT Com 45 Light" panose="020B0303030504020204" pitchFamily="34" charset="0"/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80171" y="6273881"/>
            <a:ext cx="4114800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rgbClr val="8383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mtClean="0"/>
              <a:t>WSI_filename - Demo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40000" y="6190297"/>
            <a:ext cx="360000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45CC6C2-2EFE-4F8E-A6C1-ED43C6889947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r>
              <a:rPr lang="en-GB" smtClean="0">
                <a:solidFill>
                  <a:prstClr val="white"/>
                </a:solidFill>
              </a:rPr>
              <a:t> 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2475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20000" y="404240"/>
            <a:ext cx="9235120" cy="630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600"/>
              </a:lnSpc>
              <a:defRPr sz="3600" b="1" i="0" cap="all" baseline="0">
                <a:solidFill>
                  <a:srgbClr val="003B5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80177" y="6268705"/>
            <a:ext cx="4114800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rgbClr val="8383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mtClean="0"/>
              <a:t>WSI_filename - Demo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40000" y="6190297"/>
            <a:ext cx="360000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45CC6C2-2EFE-4F8E-A6C1-ED43C6889947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r>
              <a:rPr lang="en-GB" smtClean="0">
                <a:solidFill>
                  <a:prstClr val="white"/>
                </a:solidFill>
              </a:rPr>
              <a:t> 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3504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yle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80171" y="6270199"/>
            <a:ext cx="4114800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rgbClr val="8383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mtClean="0"/>
              <a:t>WSI_filename - Demo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40000" y="6190297"/>
            <a:ext cx="360000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45CC6C2-2EFE-4F8E-A6C1-ED43C6889947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r>
              <a:rPr lang="en-GB" smtClean="0">
                <a:solidFill>
                  <a:prstClr val="white"/>
                </a:solidFill>
              </a:rPr>
              <a:t> 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8101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"/>
            <a:ext cx="12192000" cy="6857714"/>
          </a:xfrm>
          <a:prstGeom prst="rect">
            <a:avLst/>
          </a:prstGeom>
        </p:spPr>
      </p:pic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80171" y="7014110"/>
            <a:ext cx="4114800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rgbClr val="8383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mtClean="0"/>
              <a:t>WSI_filename - Demo Template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40000" y="6930526"/>
            <a:ext cx="360000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45CC6C2-2EFE-4F8E-A6C1-ED43C6889947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r>
              <a:rPr lang="en-GB" smtClean="0">
                <a:solidFill>
                  <a:prstClr val="white"/>
                </a:solidFill>
              </a:rPr>
              <a:t> 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8404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416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60603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737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85738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0" descr="bg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"/>
            <a:ext cx="12192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endParaRPr sz="1089" dirty="0" smtClean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97334" y="2314074"/>
            <a:ext cx="9600292" cy="785070"/>
          </a:xfrm>
          <a:prstGeom prst="rect">
            <a:avLst/>
          </a:prstGeom>
        </p:spPr>
        <p:txBody>
          <a:bodyPr anchor="ctr"/>
          <a:lstStyle>
            <a:lvl1pPr>
              <a:defRPr lang="x-none" sz="5102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97333" y="376685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75121" y="4096832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428" dirty="0" smtClean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" y="2147797"/>
            <a:ext cx="2180209" cy="1117624"/>
            <a:chOff x="6" y="2105039"/>
            <a:chExt cx="2136775" cy="1095375"/>
          </a:xfrm>
        </p:grpSpPr>
        <p:sp>
          <p:nvSpPr>
            <p:cNvPr id="15" name="Rectangle 9"/>
            <p:cNvSpPr/>
            <p:nvPr userDrawn="1"/>
          </p:nvSpPr>
          <p:spPr>
            <a:xfrm>
              <a:off x="6" y="2105039"/>
              <a:ext cx="2136775" cy="109537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66481">
                <a:defRPr/>
              </a:pPr>
              <a:endParaRPr lang="en-US" sz="1632" dirty="0">
                <a:solidFill>
                  <a:prstClr val="white"/>
                </a:solidFill>
              </a:endParaRPr>
            </a:p>
          </p:txBody>
        </p:sp>
        <p:sp>
          <p:nvSpPr>
            <p:cNvPr id="16" name="Triângulo isósceles 9"/>
            <p:cNvSpPr/>
            <p:nvPr userDrawn="1"/>
          </p:nvSpPr>
          <p:spPr>
            <a:xfrm rot="5400000">
              <a:off x="788287" y="2358437"/>
              <a:ext cx="630621" cy="588579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632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147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907070" y="234865"/>
            <a:ext cx="10980400" cy="471042"/>
          </a:xfrm>
        </p:spPr>
        <p:txBody>
          <a:bodyPr/>
          <a:lstStyle>
            <a:lvl1pPr>
              <a:defRPr sz="3061"/>
            </a:lvl1pPr>
          </a:lstStyle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x-none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4595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sz="816" dirty="0">
              <a:solidFill>
                <a:srgbClr val="FFFF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r>
              <a:rPr lang="x-none" sz="816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x-none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187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4" y="5754688"/>
            <a:ext cx="12207875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4" y="300039"/>
            <a:ext cx="1019503" cy="10953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6" rIns="91431" bIns="45716" anchor="ctr"/>
          <a:lstStyle/>
          <a:p>
            <a:pPr algn="ctr" defTabSz="457152">
              <a:defRPr/>
            </a:pPr>
            <a:endParaRPr lang="en-US" sz="1632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019509" y="274638"/>
            <a:ext cx="10615285" cy="1143000"/>
          </a:xfrm>
        </p:spPr>
        <p:txBody>
          <a:bodyPr>
            <a:normAutofit/>
          </a:bodyPr>
          <a:lstStyle>
            <a:lvl1pPr algn="l">
              <a:defRPr lang="en-US" sz="4387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019509" y="1600204"/>
            <a:ext cx="10615285" cy="1256112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88285" y="2364831"/>
            <a:ext cx="630621" cy="58857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60622" y="649078"/>
            <a:ext cx="394193" cy="394137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pic>
        <p:nvPicPr>
          <p:cNvPr id="11" name="Picture 2" descr="C:\Users\marcelo.prim\Downloads\Logo SENAI Cx Md Azul Inic Port.png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7645" y="6006573"/>
            <a:ext cx="1858861" cy="684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3992977-4C82-4F2A-B0A8-72285BF91C5B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BF86D27-31C7-4B6D-AA7F-54CBDE603357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7B1133D-0083-4242-8ACC-46D25813A315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188ABE4-EDC9-4386-907B-F163E9CD4B84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4251B30-85FA-42B9-84EE-A43FF92E899A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F6E55A8-111B-4B47-9078-A9A1C6780C65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36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4" y="5754688"/>
            <a:ext cx="12207875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4" y="300039"/>
            <a:ext cx="1019503" cy="10953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6" rIns="91431" bIns="45716" anchor="ctr"/>
          <a:lstStyle/>
          <a:p>
            <a:pPr algn="ctr" defTabSz="457152">
              <a:defRPr/>
            </a:pPr>
            <a:endParaRPr lang="en-US" sz="1632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019509" y="274638"/>
            <a:ext cx="10615285" cy="1143000"/>
          </a:xfrm>
        </p:spPr>
        <p:txBody>
          <a:bodyPr>
            <a:normAutofit/>
          </a:bodyPr>
          <a:lstStyle>
            <a:lvl1pPr algn="l">
              <a:defRPr lang="en-US" sz="4387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019509" y="1600204"/>
            <a:ext cx="10615285" cy="1256112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88285" y="2364831"/>
            <a:ext cx="630621" cy="58857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60622" y="649078"/>
            <a:ext cx="394193" cy="394137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pic>
        <p:nvPicPr>
          <p:cNvPr id="11" name="Picture 2" descr="C:\Users\marcelo.prim\Downloads\Logo SENAI Cx Md Azul Inic Port.png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7645" y="6006573"/>
            <a:ext cx="1858861" cy="684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962299D-58D3-4CE7-9306-2556484F7CF7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659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4" y="5754688"/>
            <a:ext cx="12207875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4" y="300039"/>
            <a:ext cx="1019503" cy="10953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6" rIns="91431" bIns="45716" anchor="ctr"/>
          <a:lstStyle/>
          <a:p>
            <a:pPr algn="ctr" defTabSz="457152">
              <a:defRPr/>
            </a:pPr>
            <a:endParaRPr lang="en-US" sz="1632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019509" y="274638"/>
            <a:ext cx="10615285" cy="1143000"/>
          </a:xfrm>
        </p:spPr>
        <p:txBody>
          <a:bodyPr>
            <a:normAutofit/>
          </a:bodyPr>
          <a:lstStyle>
            <a:lvl1pPr algn="l">
              <a:defRPr lang="en-US" sz="4387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019509" y="1600204"/>
            <a:ext cx="10615285" cy="1256112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88285" y="2364831"/>
            <a:ext cx="630621" cy="58857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60622" y="649078"/>
            <a:ext cx="394193" cy="394137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pic>
        <p:nvPicPr>
          <p:cNvPr id="11" name="Picture 2" descr="C:\Users\marcelo.prim\Downloads\Logo SENAI Cx Md Azul Inic Port.png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7645" y="6006573"/>
            <a:ext cx="1858861" cy="684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FC01E7B-AC4D-4DFE-820D-84421DCF2A47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B6FEFEA-D0A7-4A4C-B0C2-E1DBBFBCB19B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EEB50C5-9BB1-4166-91A7-F7E311F48D33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8640AB6-636A-475E-809B-6CAD219AD4DA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F6F6F32-9749-43BD-B10C-16609289F223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7B360B3-5D37-45CD-8C2C-C293509980F8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E3DB717-8A7E-4A2D-83B1-5E512FCD1354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56D3EFA-C872-43EF-9DB9-5BFD575D6A4E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9283EB9-380D-422E-892D-886F37A5A642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8823B78-1A99-43EF-8B61-AFDBED57BFA5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20EB6FA-658A-4136-9CBA-7E5AF3C8A251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5915446-3F0A-4D0D-B7C5-8C659E8EB17B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87CF81-8312-4AE9-A01F-0D515DF667BC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769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4" y="5754688"/>
            <a:ext cx="12207875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4" y="300039"/>
            <a:ext cx="1019503" cy="10953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6" rIns="91431" bIns="45716" anchor="ctr"/>
          <a:lstStyle/>
          <a:p>
            <a:pPr algn="ctr" defTabSz="457152">
              <a:defRPr/>
            </a:pPr>
            <a:endParaRPr lang="en-US" sz="1632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019509" y="274638"/>
            <a:ext cx="10615285" cy="1143000"/>
          </a:xfrm>
        </p:spPr>
        <p:txBody>
          <a:bodyPr>
            <a:normAutofit/>
          </a:bodyPr>
          <a:lstStyle>
            <a:lvl1pPr algn="l">
              <a:defRPr lang="en-US" sz="4387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019509" y="1600204"/>
            <a:ext cx="10615285" cy="1256112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88285" y="2364831"/>
            <a:ext cx="630621" cy="58857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60622" y="649078"/>
            <a:ext cx="394193" cy="394137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92FFD60-E116-4C4C-B533-8703F02ED0C4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156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4" y="5754688"/>
            <a:ext cx="12207875" cy="111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7" y="300043"/>
            <a:ext cx="1019503" cy="10953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6" rIns="91431" bIns="45716" anchor="ctr"/>
          <a:lstStyle/>
          <a:p>
            <a:pPr algn="ctr" defTabSz="457152">
              <a:defRPr/>
            </a:pPr>
            <a:endParaRPr lang="en-US" sz="1632">
              <a:solidFill>
                <a:prstClr val="white"/>
              </a:solidFill>
            </a:endParaRPr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88288" y="2364833"/>
            <a:ext cx="630621" cy="58857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60625" y="649082"/>
            <a:ext cx="394193" cy="394137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FFFFFF"/>
              </a:solidFill>
            </a:endParaRPr>
          </a:p>
        </p:txBody>
      </p:sp>
      <p:pic>
        <p:nvPicPr>
          <p:cNvPr id="11" name="Picture 2" descr="C:\Users\marcelo.prim\Downloads\Logo SENAI Cx Md Azul Inic Port.png"/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7645" y="6006573"/>
            <a:ext cx="1858861" cy="684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EC7D581-667B-4C20-A453-BCF931ED1F71}" type="slidenum">
              <a:rPr lang="pt-BR" sz="102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554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49" y="458947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3055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2529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92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92" y="2505075"/>
            <a:ext cx="5157787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45555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19227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8239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92" y="987426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71329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92" y="987426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528268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image" Target="../media/image9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1.x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3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C7F793-8DB7-4B68-ABF3-254AC5D0EA0E}" type="datetimeFigureOut">
              <a:rPr lang="pt-BR" smtClean="0"/>
              <a:pPr/>
              <a:t>31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1" y="635636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732AB4-BB36-460F-8872-1FA17055A47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3136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2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"/>
            <a:ext cx="12192000" cy="685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997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2176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434030"/>
            <a:ext cx="9553397" cy="42397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 err="1" smtClean="0">
              <a:solidFill>
                <a:srgbClr val="000000"/>
              </a:solidFill>
            </a:endParaRPr>
          </a:p>
        </p:txBody>
      </p:sp>
      <p:pic>
        <p:nvPicPr>
          <p:cNvPr id="62" name="Picture 10" descr="bg.png"/>
          <p:cNvPicPr>
            <a:picLocks noChangeAspect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560370"/>
            <a:ext cx="12192001" cy="297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x-none" sz="612" dirty="0">
              <a:solidFill>
                <a:srgbClr val="80808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907070" y="234865"/>
            <a:ext cx="10980400" cy="471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903830" y="828534"/>
            <a:ext cx="10972314" cy="288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837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61985" y="6432420"/>
            <a:ext cx="11630454" cy="333668"/>
            <a:chOff x="75" y="3935"/>
            <a:chExt cx="5385" cy="20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5"/>
              <a:ext cx="5385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7465" indent="-87465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816" dirty="0" smtClean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2"/>
              <a:ext cx="4702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03735" indent="-503735" defTabSz="1218095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816" dirty="0">
                  <a:solidFill>
                    <a:srgbClr val="FFFFFF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9" y="1991016"/>
            <a:ext cx="3675333" cy="12561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816" dirty="0" smtClean="0">
                  <a:solidFill>
                    <a:srgbClr val="808080"/>
                  </a:solidFill>
                </a:rPr>
                <a:t>STICKER</a:t>
              </a:r>
              <a:endParaRPr lang="x-none" sz="816" dirty="0">
                <a:solidFill>
                  <a:srgbClr val="808080"/>
                </a:solidFill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632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632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632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632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632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632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632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224" dirty="0" smtClean="0">
                  <a:solidFill>
                    <a:srgbClr val="000000"/>
                  </a:solidFill>
                </a:rPr>
                <a:t>Legend</a:t>
              </a:r>
              <a:endParaRPr lang="x-none" sz="1224" dirty="0">
                <a:solidFill>
                  <a:srgbClr val="000000"/>
                </a:solidFill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 smtClean="0">
              <a:solidFill>
                <a:srgbClr val="000000"/>
              </a:solidFill>
            </a:endParaRPr>
          </a:p>
        </p:txBody>
      </p:sp>
      <p:grpSp>
        <p:nvGrpSpPr>
          <p:cNvPr id="63" name="Group 62"/>
          <p:cNvGrpSpPr/>
          <p:nvPr userDrawn="1"/>
        </p:nvGrpSpPr>
        <p:grpSpPr>
          <a:xfrm>
            <a:off x="10715244" y="6066629"/>
            <a:ext cx="1287974" cy="416599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6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1632">
                <a:solidFill>
                  <a:srgbClr val="000000"/>
                </a:solidFill>
              </a:endParaRPr>
            </a:p>
          </p:txBody>
        </p:sp>
        <p:sp>
          <p:nvSpPr>
            <p:cNvPr id="6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1632">
                <a:solidFill>
                  <a:srgbClr val="000000"/>
                </a:solidFill>
              </a:endParaRPr>
            </a:p>
          </p:txBody>
        </p:sp>
        <p:sp>
          <p:nvSpPr>
            <p:cNvPr id="6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1632">
                <a:solidFill>
                  <a:srgbClr val="000000"/>
                </a:solidFill>
              </a:endParaRPr>
            </a:p>
          </p:txBody>
        </p:sp>
      </p:grpSp>
      <p:grpSp>
        <p:nvGrpSpPr>
          <p:cNvPr id="71" name="Group 70"/>
          <p:cNvGrpSpPr/>
          <p:nvPr userDrawn="1"/>
        </p:nvGrpSpPr>
        <p:grpSpPr>
          <a:xfrm>
            <a:off x="7" y="182480"/>
            <a:ext cx="827477" cy="569539"/>
            <a:chOff x="6" y="2105039"/>
            <a:chExt cx="2136775" cy="1470729"/>
          </a:xfrm>
        </p:grpSpPr>
        <p:sp>
          <p:nvSpPr>
            <p:cNvPr id="72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66481">
                <a:defRPr/>
              </a:pPr>
              <a:endParaRPr lang="en-US" sz="1632" dirty="0">
                <a:solidFill>
                  <a:prstClr val="white"/>
                </a:solidFill>
              </a:endParaRPr>
            </a:p>
          </p:txBody>
        </p:sp>
        <p:sp>
          <p:nvSpPr>
            <p:cNvPr id="73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632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809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lang="x-none" sz="306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4012" rtl="0" eaLnBrk="1" latinLnBrk="0" hangingPunct="1">
        <a:defRPr lang="x-none"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lang="x-none"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lang="x-none"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lang="x-none"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lang="x-none"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lang="x-none"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lang="x-none"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lang="x-none"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lang="x-none"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9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6.xml"/><Relationship Id="rId9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5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25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23.xml"/><Relationship Id="rId7" Type="http://schemas.openxmlformats.org/officeDocument/2006/relationships/diagramLayout" Target="../diagrams/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diagramData" Target="../diagrams/data2.xml"/><Relationship Id="rId11" Type="http://schemas.openxmlformats.org/officeDocument/2006/relationships/image" Target="../media/image25.png"/><Relationship Id="rId5" Type="http://schemas.openxmlformats.org/officeDocument/2006/relationships/image" Target="../media/image13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15.bin"/><Relationship Id="rId9" Type="http://schemas.openxmlformats.org/officeDocument/2006/relationships/diagramColors" Target="../diagrams/colors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notesSlide" Target="../notesSlides/notesSlide9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slideLayout" Target="../slideLayouts/slideLayout23.xml"/><Relationship Id="rId2" Type="http://schemas.openxmlformats.org/officeDocument/2006/relationships/tags" Target="../tags/tag35.xml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18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image" Target="../media/image13.emf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oleObject" Target="../embeddings/oleObject1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gif"/><Relationship Id="rId13" Type="http://schemas.openxmlformats.org/officeDocument/2006/relationships/image" Target="../media/image20.gif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11" Type="http://schemas.openxmlformats.org/officeDocument/2006/relationships/image" Target="../media/image18.gif"/><Relationship Id="rId5" Type="http://schemas.openxmlformats.org/officeDocument/2006/relationships/oleObject" Target="../embeddings/oleObject3.bin"/><Relationship Id="rId15" Type="http://schemas.openxmlformats.org/officeDocument/2006/relationships/image" Target="../media/image22.png"/><Relationship Id="rId10" Type="http://schemas.openxmlformats.org/officeDocument/2006/relationships/image" Target="../media/image17.gi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6.gif"/><Relationship Id="rId1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9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gif"/><Relationship Id="rId3" Type="http://schemas.openxmlformats.org/officeDocument/2006/relationships/slideLayout" Target="../slideLayouts/slideLayout23.xml"/><Relationship Id="rId7" Type="http://schemas.openxmlformats.org/officeDocument/2006/relationships/chart" Target="../charts/chart4.xml"/><Relationship Id="rId12" Type="http://schemas.openxmlformats.org/officeDocument/2006/relationships/image" Target="../media/image4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11" Type="http://schemas.openxmlformats.org/officeDocument/2006/relationships/chart" Target="../charts/chart6.xml"/><Relationship Id="rId5" Type="http://schemas.openxmlformats.org/officeDocument/2006/relationships/oleObject" Target="../embeddings/oleObject22.bin"/><Relationship Id="rId10" Type="http://schemas.openxmlformats.org/officeDocument/2006/relationships/chart" Target="../charts/chart5.xml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3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chart" Target="../charts/char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chart" Target="../charts/char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23.xml"/><Relationship Id="rId7" Type="http://schemas.openxmlformats.org/officeDocument/2006/relationships/diagramLayout" Target="../diagrams/layou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diagramData" Target="../diagrams/data1.xml"/><Relationship Id="rId11" Type="http://schemas.openxmlformats.org/officeDocument/2006/relationships/image" Target="../media/image25.png"/><Relationship Id="rId5" Type="http://schemas.openxmlformats.org/officeDocument/2006/relationships/image" Target="../media/image13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7.bin"/><Relationship Id="rId9" Type="http://schemas.openxmlformats.org/officeDocument/2006/relationships/diagramColors" Target="../diagrams/colors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g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9"/>
          <p:cNvSpPr/>
          <p:nvPr/>
        </p:nvSpPr>
        <p:spPr>
          <a:xfrm>
            <a:off x="4" y="2105035"/>
            <a:ext cx="2136775" cy="1095375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riângulo isósceles 9"/>
          <p:cNvSpPr/>
          <p:nvPr/>
        </p:nvSpPr>
        <p:spPr>
          <a:xfrm rot="5400000">
            <a:off x="788284" y="2364830"/>
            <a:ext cx="630621" cy="58857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8" name="Rectangle 9"/>
          <p:cNvSpPr/>
          <p:nvPr/>
        </p:nvSpPr>
        <p:spPr>
          <a:xfrm>
            <a:off x="4" y="2105035"/>
            <a:ext cx="2136775" cy="1095375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2207185" y="1533535"/>
            <a:ext cx="9913696" cy="3333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pt-BR" altLang="pt-BR" sz="4800" dirty="0" smtClean="0">
                <a:solidFill>
                  <a:schemeClr val="bg1"/>
                </a:solidFill>
                <a:latin typeface="Century Gothic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NOVA LEI DO ENSINO MÉDIO</a:t>
            </a:r>
          </a:p>
          <a:p>
            <a:pPr>
              <a:lnSpc>
                <a:spcPct val="100000"/>
              </a:lnSpc>
              <a:defRPr/>
            </a:pPr>
            <a:r>
              <a:rPr lang="pt-BR" altLang="pt-BR" sz="3200" dirty="0" smtClean="0">
                <a:solidFill>
                  <a:schemeClr val="bg1"/>
                </a:solidFill>
                <a:latin typeface="Century Gothic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inerário V – Formação Técnica e Profissional</a:t>
            </a:r>
            <a:endParaRPr lang="pt-BR" altLang="pt-BR" sz="1800" dirty="0" smtClean="0">
              <a:solidFill>
                <a:schemeClr val="bg1"/>
              </a:solidFill>
              <a:latin typeface="Century Gothic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00000"/>
              </a:lnSpc>
              <a:defRPr/>
            </a:pPr>
            <a:endParaRPr lang="pt-BR" altLang="pt-BR" dirty="0" smtClean="0">
              <a:solidFill>
                <a:schemeClr val="bg1"/>
              </a:solidFill>
              <a:latin typeface="Century Gothic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pt-BR" dirty="0">
              <a:solidFill>
                <a:schemeClr val="bg1"/>
              </a:solidFill>
              <a:latin typeface="Century Gothic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riângulo isósceles 10"/>
          <p:cNvSpPr/>
          <p:nvPr/>
        </p:nvSpPr>
        <p:spPr>
          <a:xfrm rot="5400000">
            <a:off x="788284" y="2364830"/>
            <a:ext cx="630621" cy="58857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9945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tângulo 28"/>
          <p:cNvSpPr/>
          <p:nvPr/>
        </p:nvSpPr>
        <p:spPr>
          <a:xfrm>
            <a:off x="0" y="0"/>
            <a:ext cx="12192000" cy="574963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pt-BR" kern="0">
              <a:solidFill>
                <a:prstClr val="white"/>
              </a:solidFill>
            </a:endParaRPr>
          </a:p>
        </p:txBody>
      </p:sp>
      <p:sp>
        <p:nvSpPr>
          <p:cNvPr id="30" name="CaixaDeTexto 23"/>
          <p:cNvSpPr txBox="1">
            <a:spLocks noChangeArrowheads="1"/>
          </p:cNvSpPr>
          <p:nvPr/>
        </p:nvSpPr>
        <p:spPr bwMode="auto">
          <a:xfrm>
            <a:off x="4051140" y="1644224"/>
            <a:ext cx="7002684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pt-BR" sz="3600" dirty="0" smtClean="0">
                <a:solidFill>
                  <a:prstClr val="white"/>
                </a:solidFill>
                <a:latin typeface="Calibri"/>
              </a:rPr>
              <a:t>PROJETO PILOTO DO ENSINO MÉDIO DO SESI INTEGRADO COM A EDUCAÇÃO PROFISSIONAL DO SENAI</a:t>
            </a:r>
            <a:endParaRPr lang="pt-BR" sz="3600" dirty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6" name="Conector reto 11"/>
          <p:cNvCxnSpPr>
            <a:cxnSpLocks noChangeShapeType="1"/>
          </p:cNvCxnSpPr>
          <p:nvPr/>
        </p:nvCxnSpPr>
        <p:spPr bwMode="auto">
          <a:xfrm flipV="1">
            <a:off x="725906" y="3576320"/>
            <a:ext cx="9606814" cy="6896"/>
          </a:xfrm>
          <a:prstGeom prst="line">
            <a:avLst/>
          </a:prstGeom>
          <a:noFill/>
          <a:ln w="19050" algn="ctr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20" y="474562"/>
            <a:ext cx="3703899" cy="454307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22294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8" descr="Resultado de imagem para olimpiada do conhecimento 2016"/>
          <p:cNvSpPr>
            <a:spLocks noChangeAspect="1" noChangeArrowheads="1"/>
          </p:cNvSpPr>
          <p:nvPr/>
        </p:nvSpPr>
        <p:spPr bwMode="auto">
          <a:xfrm>
            <a:off x="155663" y="-144462"/>
            <a:ext cx="304796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</a:endParaRPr>
          </a:p>
        </p:txBody>
      </p:sp>
      <p:sp>
        <p:nvSpPr>
          <p:cNvPr id="11" name="Título 1"/>
          <p:cNvSpPr txBox="1">
            <a:spLocks/>
          </p:cNvSpPr>
          <p:nvPr/>
        </p:nvSpPr>
        <p:spPr bwMode="gray">
          <a:xfrm>
            <a:off x="933198" y="165696"/>
            <a:ext cx="11651355" cy="973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1809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56" algn="l"/>
              </a:tabLst>
              <a:defRPr lang="x-none" sz="3061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2005"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4012"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6017"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8024" algn="l" defTabSz="1218095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3265" b="1" kern="0" dirty="0" smtClean="0">
                <a:solidFill>
                  <a:srgbClr val="002960"/>
                </a:solidFill>
              </a:rPr>
              <a:t>O DESAFIO PARA O ATENDIMENTO À INDUSTRIA</a:t>
            </a:r>
            <a:br>
              <a:rPr lang="pt-BR" sz="3265" b="1" kern="0" dirty="0" smtClean="0">
                <a:solidFill>
                  <a:srgbClr val="002960"/>
                </a:solidFill>
              </a:rPr>
            </a:br>
            <a:endParaRPr lang="pt-BR" kern="0" dirty="0">
              <a:solidFill>
                <a:srgbClr val="002960"/>
              </a:solidFill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5240382" y="3309270"/>
            <a:ext cx="1469412" cy="1469412"/>
            <a:chOff x="2595880" y="1390904"/>
            <a:chExt cx="1143000" cy="1143000"/>
          </a:xfrm>
          <a:solidFill>
            <a:srgbClr val="5B9BD5"/>
          </a:solidFill>
        </p:grpSpPr>
        <p:sp>
          <p:nvSpPr>
            <p:cNvPr id="13" name="Elipse 12"/>
            <p:cNvSpPr/>
            <p:nvPr/>
          </p:nvSpPr>
          <p:spPr>
            <a:xfrm>
              <a:off x="2595880" y="1390904"/>
              <a:ext cx="1143000" cy="1143000"/>
            </a:xfrm>
            <a:prstGeom prst="ellipse">
              <a:avLst/>
            </a:prstGeom>
            <a:grpFill/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/>
            <a:lstStyle/>
            <a:p>
              <a:pPr algn="r" defTabSz="932962">
                <a:defRPr/>
              </a:pPr>
              <a:endParaRPr lang="pt-BR" sz="1837" kern="0" dirty="0">
                <a:solidFill>
                  <a:prstClr val="white"/>
                </a:solidFill>
              </a:endParaRPr>
            </a:p>
          </p:txBody>
        </p:sp>
        <p:sp>
          <p:nvSpPr>
            <p:cNvPr id="14" name="Elipse 6"/>
            <p:cNvSpPr/>
            <p:nvPr/>
          </p:nvSpPr>
          <p:spPr>
            <a:xfrm>
              <a:off x="2763269" y="1558292"/>
              <a:ext cx="808222" cy="80822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15550" tIns="15550" rIns="15550" bIns="15550" numCol="1" spcCol="1270" anchor="ctr" anchorCtr="0">
              <a:noAutofit/>
            </a:bodyPr>
            <a:lstStyle/>
            <a:p>
              <a:pPr algn="ctr" defTabSz="932962">
                <a:defRPr/>
              </a:pPr>
              <a:r>
                <a:rPr lang="pt-BR" sz="1837" b="1" kern="0" dirty="0">
                  <a:solidFill>
                    <a:prstClr val="white"/>
                  </a:solidFill>
                </a:rPr>
                <a:t>363.013</a:t>
              </a:r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4322518" y="1913328"/>
            <a:ext cx="1836765" cy="1763295"/>
            <a:chOff x="1778000" y="533399"/>
            <a:chExt cx="1143000" cy="1143000"/>
          </a:xfrm>
          <a:solidFill>
            <a:srgbClr val="5B9BD5">
              <a:lumMod val="75000"/>
            </a:srgbClr>
          </a:solidFill>
        </p:grpSpPr>
        <p:sp>
          <p:nvSpPr>
            <p:cNvPr id="16" name="Elipse 15"/>
            <p:cNvSpPr/>
            <p:nvPr/>
          </p:nvSpPr>
          <p:spPr>
            <a:xfrm>
              <a:off x="1778000" y="533399"/>
              <a:ext cx="1143000" cy="1143000"/>
            </a:xfrm>
            <a:prstGeom prst="ellipse">
              <a:avLst/>
            </a:prstGeom>
            <a:grpFill/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17" name="Elipse 8"/>
            <p:cNvSpPr/>
            <p:nvPr/>
          </p:nvSpPr>
          <p:spPr>
            <a:xfrm>
              <a:off x="1945389" y="700787"/>
              <a:ext cx="808222" cy="80822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15550" tIns="15550" rIns="15550" bIns="15550" numCol="1" spcCol="1270" anchor="ctr" anchorCtr="0">
              <a:noAutofit/>
            </a:bodyPr>
            <a:lstStyle/>
            <a:p>
              <a:pPr defTabSz="932962">
                <a:defRPr/>
              </a:pPr>
              <a:r>
                <a:rPr lang="pt-BR" sz="1837" b="1" kern="0" dirty="0">
                  <a:solidFill>
                    <a:prstClr val="white"/>
                  </a:solidFill>
                </a:rPr>
                <a:t>1.599.179</a:t>
              </a:r>
              <a:endParaRPr lang="pt-BR" sz="1837" kern="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8" name="Grupo 17"/>
          <p:cNvGrpSpPr/>
          <p:nvPr/>
        </p:nvGrpSpPr>
        <p:grpSpPr>
          <a:xfrm>
            <a:off x="5901617" y="1472504"/>
            <a:ext cx="2130648" cy="2130648"/>
            <a:chOff x="2946400" y="257047"/>
            <a:chExt cx="1143000" cy="1143000"/>
          </a:xfrm>
          <a:solidFill>
            <a:srgbClr val="5B9BD5">
              <a:lumMod val="50000"/>
            </a:srgbClr>
          </a:solidFill>
        </p:grpSpPr>
        <p:sp>
          <p:nvSpPr>
            <p:cNvPr id="19" name="Elipse 18"/>
            <p:cNvSpPr/>
            <p:nvPr/>
          </p:nvSpPr>
          <p:spPr>
            <a:xfrm>
              <a:off x="2946400" y="257047"/>
              <a:ext cx="1143000" cy="1143000"/>
            </a:xfrm>
            <a:prstGeom prst="ellipse">
              <a:avLst/>
            </a:prstGeom>
            <a:grpFill/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20" name="Elipse 10"/>
            <p:cNvSpPr/>
            <p:nvPr/>
          </p:nvSpPr>
          <p:spPr>
            <a:xfrm>
              <a:off x="3113789" y="424435"/>
              <a:ext cx="808222" cy="80822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15550" tIns="15550" rIns="15550" bIns="15550" numCol="1" spcCol="1270" anchor="ctr" anchorCtr="0">
              <a:noAutofit/>
            </a:bodyPr>
            <a:lstStyle/>
            <a:p>
              <a:pPr algn="ctr" defTabSz="544228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837" b="1" kern="0" dirty="0">
                  <a:solidFill>
                    <a:prstClr val="white"/>
                  </a:solidFill>
                  <a:ea typeface="ＭＳ Ｐゴシック" charset="0"/>
                </a:rPr>
                <a:t>3.198.357</a:t>
              </a:r>
              <a:endParaRPr lang="pt-BR" sz="1837" b="1" kern="0" dirty="0">
                <a:solidFill>
                  <a:prstClr val="white"/>
                </a:solidFill>
                <a:latin typeface="Century Gothic" pitchFamily="34" charset="0"/>
              </a:endParaRPr>
            </a:p>
          </p:txBody>
        </p:sp>
      </p:grpSp>
      <p:sp>
        <p:nvSpPr>
          <p:cNvPr id="21" name="Texto Explicativo 2 (Ênfase) 20"/>
          <p:cNvSpPr/>
          <p:nvPr/>
        </p:nvSpPr>
        <p:spPr>
          <a:xfrm>
            <a:off x="1677576" y="2643290"/>
            <a:ext cx="2204118" cy="514294"/>
          </a:xfrm>
          <a:prstGeom prst="accentCallout2">
            <a:avLst>
              <a:gd name="adj1" fmla="val 18751"/>
              <a:gd name="adj2" fmla="val 74309"/>
              <a:gd name="adj3" fmla="val 9903"/>
              <a:gd name="adj4" fmla="val 105745"/>
              <a:gd name="adj5" fmla="val 63990"/>
              <a:gd name="adj6" fmla="val 121626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defTabSz="932962">
              <a:defRPr/>
            </a:pPr>
            <a:endParaRPr lang="pt-BR" sz="1837" b="1" kern="0" dirty="0">
              <a:solidFill>
                <a:srgbClr val="0052A4"/>
              </a:solidFill>
              <a:latin typeface="Century Gothic" pitchFamily="34" charset="0"/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8235838" y="2277666"/>
            <a:ext cx="3349367" cy="47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buClr>
                <a:srgbClr val="ED7D31"/>
              </a:buClr>
            </a:pPr>
            <a:r>
              <a:rPr lang="pt-BR" altLang="pt-BR" sz="1224" b="1" dirty="0">
                <a:solidFill>
                  <a:srgbClr val="44546A"/>
                </a:solidFill>
                <a:latin typeface="Century Gothic" pitchFamily="34" charset="0"/>
              </a:rPr>
              <a:t>Fonte: Censo da Educação Básica 2015</a:t>
            </a:r>
          </a:p>
          <a:p>
            <a:pPr algn="r" eaLnBrk="1" hangingPunct="1">
              <a:buClr>
                <a:srgbClr val="ED7D31"/>
              </a:buClr>
            </a:pPr>
            <a:endParaRPr lang="pt-BR" altLang="pt-BR" sz="1224" b="1" dirty="0">
              <a:solidFill>
                <a:srgbClr val="44546A"/>
              </a:solidFill>
              <a:latin typeface="Century Gothic" pitchFamily="34" charset="0"/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8448195" y="1566979"/>
            <a:ext cx="2924655" cy="720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41" b="1" dirty="0">
                <a:solidFill>
                  <a:srgbClr val="002960"/>
                </a:solidFill>
                <a:latin typeface="Century Gothic" pitchFamily="34" charset="0"/>
              </a:rPr>
              <a:t>Matrículas</a:t>
            </a:r>
          </a:p>
          <a:p>
            <a:r>
              <a:rPr lang="pt-BR" sz="2041" b="1" dirty="0">
                <a:solidFill>
                  <a:srgbClr val="002960"/>
                </a:solidFill>
                <a:latin typeface="Century Gothic" pitchFamily="34" charset="0"/>
              </a:rPr>
              <a:t>1º </a:t>
            </a:r>
            <a:r>
              <a:rPr lang="pt-BR" sz="2041" b="1" dirty="0" smtClean="0">
                <a:solidFill>
                  <a:srgbClr val="002960"/>
                </a:solidFill>
                <a:latin typeface="Century Gothic" pitchFamily="34" charset="0"/>
              </a:rPr>
              <a:t>Ano Ensino </a:t>
            </a:r>
            <a:r>
              <a:rPr lang="pt-BR" sz="2041" b="1" dirty="0">
                <a:solidFill>
                  <a:srgbClr val="002960"/>
                </a:solidFill>
                <a:latin typeface="Century Gothic" pitchFamily="34" charset="0"/>
              </a:rPr>
              <a:t>Médio</a:t>
            </a:r>
          </a:p>
        </p:txBody>
      </p:sp>
      <p:sp>
        <p:nvSpPr>
          <p:cNvPr id="24" name="Texto Explicativo 2 (Ênfase) 23"/>
          <p:cNvSpPr/>
          <p:nvPr/>
        </p:nvSpPr>
        <p:spPr>
          <a:xfrm>
            <a:off x="2742381" y="4218862"/>
            <a:ext cx="2019923" cy="514294"/>
          </a:xfrm>
          <a:prstGeom prst="accentCallout2">
            <a:avLst>
              <a:gd name="adj1" fmla="val 30373"/>
              <a:gd name="adj2" fmla="val 87620"/>
              <a:gd name="adj3" fmla="val 27388"/>
              <a:gd name="adj4" fmla="val 113913"/>
              <a:gd name="adj5" fmla="val 57433"/>
              <a:gd name="adj6" fmla="val 133588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r" defTabSz="932962">
              <a:defRPr/>
            </a:pPr>
            <a:endParaRPr lang="pt-BR" sz="1837" b="1" kern="0" dirty="0">
              <a:solidFill>
                <a:srgbClr val="0052A4"/>
              </a:solidFill>
              <a:latin typeface="Century Gothic" pitchFamily="34" charset="0"/>
            </a:endParaRPr>
          </a:p>
        </p:txBody>
      </p:sp>
      <p:sp>
        <p:nvSpPr>
          <p:cNvPr id="25" name="Retângulo 24"/>
          <p:cNvSpPr/>
          <p:nvPr/>
        </p:nvSpPr>
        <p:spPr>
          <a:xfrm>
            <a:off x="126184" y="2591432"/>
            <a:ext cx="3479841" cy="1055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3"/>
            <a:r>
              <a:rPr lang="pt-BR" sz="2041" b="1" dirty="0">
                <a:solidFill>
                  <a:srgbClr val="002960"/>
                </a:solidFill>
                <a:latin typeface="Century Gothic" pitchFamily="34" charset="0"/>
              </a:rPr>
              <a:t>50% dos estudantes do </a:t>
            </a:r>
            <a:br>
              <a:rPr lang="pt-BR" sz="2041" b="1" dirty="0">
                <a:solidFill>
                  <a:srgbClr val="002960"/>
                </a:solidFill>
                <a:latin typeface="Century Gothic" pitchFamily="34" charset="0"/>
              </a:rPr>
            </a:br>
            <a:r>
              <a:rPr lang="pt-BR" sz="2041" b="1" dirty="0">
                <a:solidFill>
                  <a:srgbClr val="002960"/>
                </a:solidFill>
                <a:latin typeface="Century Gothic" pitchFamily="34" charset="0"/>
              </a:rPr>
              <a:t>novo Ensino Médio optem pelo Itinerário 5</a:t>
            </a:r>
          </a:p>
        </p:txBody>
      </p:sp>
      <p:sp>
        <p:nvSpPr>
          <p:cNvPr id="26" name="Retângulo 25"/>
          <p:cNvSpPr/>
          <p:nvPr/>
        </p:nvSpPr>
        <p:spPr>
          <a:xfrm>
            <a:off x="2059377" y="4206535"/>
            <a:ext cx="2464513" cy="1505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2041" b="1" dirty="0">
                <a:solidFill>
                  <a:srgbClr val="002960"/>
                </a:solidFill>
                <a:latin typeface="Century Gothic" pitchFamily="34" charset="0"/>
              </a:rPr>
              <a:t>22,7% dos trabalhadores estão na Indústria</a:t>
            </a:r>
          </a:p>
          <a:p>
            <a:pPr algn="r"/>
            <a:endParaRPr lang="pt-BR" sz="1837" b="1" dirty="0">
              <a:solidFill>
                <a:srgbClr val="002960"/>
              </a:solidFill>
              <a:latin typeface="Century Gothic" pitchFamily="34" charset="0"/>
            </a:endParaRPr>
          </a:p>
          <a:p>
            <a:pPr algn="r"/>
            <a:r>
              <a:rPr lang="pt-BR" sz="1224" b="1" dirty="0">
                <a:solidFill>
                  <a:srgbClr val="002960"/>
                </a:solidFill>
                <a:latin typeface="Century Gothic" pitchFamily="34" charset="0"/>
              </a:rPr>
              <a:t>Fonte: RAIS 2015</a:t>
            </a:r>
          </a:p>
        </p:txBody>
      </p:sp>
      <p:sp>
        <p:nvSpPr>
          <p:cNvPr id="27" name="Texto Explicativo 2 (Ênfase) 26"/>
          <p:cNvSpPr/>
          <p:nvPr/>
        </p:nvSpPr>
        <p:spPr>
          <a:xfrm>
            <a:off x="8510343" y="1479231"/>
            <a:ext cx="1616353" cy="734706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5072"/>
              <a:gd name="adj6" fmla="val -51535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32962">
              <a:defRPr/>
            </a:pPr>
            <a:endParaRPr lang="pt-BR" sz="1837" kern="0">
              <a:solidFill>
                <a:prstClr val="white"/>
              </a:solidFill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391859" y="1669125"/>
            <a:ext cx="5024449" cy="3994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tangle 123991"/>
          <p:cNvSpPr/>
          <p:nvPr/>
        </p:nvSpPr>
        <p:spPr>
          <a:xfrm>
            <a:off x="7811473" y="3928209"/>
            <a:ext cx="4263169" cy="801703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1837" kern="0" dirty="0" err="1" smtClean="0">
              <a:solidFill>
                <a:srgbClr val="000000"/>
              </a:solidFill>
            </a:endParaRPr>
          </a:p>
        </p:txBody>
      </p:sp>
      <p:sp>
        <p:nvSpPr>
          <p:cNvPr id="30" name="Title 3"/>
          <p:cNvSpPr txBox="1">
            <a:spLocks/>
          </p:cNvSpPr>
          <p:nvPr/>
        </p:nvSpPr>
        <p:spPr bwMode="auto">
          <a:xfrm>
            <a:off x="8160473" y="4109055"/>
            <a:ext cx="2441330" cy="512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pt-BR" sz="1632" kern="0" dirty="0">
                <a:solidFill>
                  <a:srgbClr val="002960"/>
                </a:solidFill>
              </a:rPr>
              <a:t>Integrado + Concomitante existente</a:t>
            </a:r>
          </a:p>
        </p:txBody>
      </p:sp>
      <p:sp>
        <p:nvSpPr>
          <p:cNvPr id="31" name="Title 3"/>
          <p:cNvSpPr txBox="1">
            <a:spLocks/>
          </p:cNvSpPr>
          <p:nvPr/>
        </p:nvSpPr>
        <p:spPr bwMode="auto">
          <a:xfrm>
            <a:off x="10838243" y="4168232"/>
            <a:ext cx="111460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000" kern="0" dirty="0">
                <a:solidFill>
                  <a:srgbClr val="002960"/>
                </a:solidFill>
              </a:rPr>
              <a:t>157.793</a:t>
            </a:r>
          </a:p>
        </p:txBody>
      </p:sp>
      <p:sp>
        <p:nvSpPr>
          <p:cNvPr id="32" name="Rectangle 123991"/>
          <p:cNvSpPr/>
          <p:nvPr/>
        </p:nvSpPr>
        <p:spPr>
          <a:xfrm>
            <a:off x="7810128" y="4830363"/>
            <a:ext cx="4263169" cy="757414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1837" kern="0" dirty="0" err="1" smtClean="0">
              <a:solidFill>
                <a:srgbClr val="000000"/>
              </a:solidFill>
            </a:endParaRPr>
          </a:p>
        </p:txBody>
      </p:sp>
      <p:sp>
        <p:nvSpPr>
          <p:cNvPr id="33" name="Title 3"/>
          <p:cNvSpPr txBox="1">
            <a:spLocks/>
          </p:cNvSpPr>
          <p:nvPr/>
        </p:nvSpPr>
        <p:spPr bwMode="auto">
          <a:xfrm>
            <a:off x="7929563" y="4976145"/>
            <a:ext cx="2704346" cy="50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pt-BR" sz="1632" kern="0" dirty="0">
                <a:solidFill>
                  <a:srgbClr val="002960"/>
                </a:solidFill>
              </a:rPr>
              <a:t>GAP de Cursos Técnicos na </a:t>
            </a:r>
            <a:r>
              <a:rPr lang="pt-BR" sz="1632" kern="0" dirty="0" smtClean="0">
                <a:solidFill>
                  <a:srgbClr val="002960"/>
                </a:solidFill>
              </a:rPr>
              <a:t>Indústria por ano</a:t>
            </a:r>
            <a:endParaRPr lang="pt-BR" sz="1632" kern="0" dirty="0">
              <a:solidFill>
                <a:srgbClr val="002960"/>
              </a:solidFill>
            </a:endParaRPr>
          </a:p>
        </p:txBody>
      </p:sp>
      <p:sp>
        <p:nvSpPr>
          <p:cNvPr id="34" name="Title 3"/>
          <p:cNvSpPr txBox="1">
            <a:spLocks/>
          </p:cNvSpPr>
          <p:nvPr/>
        </p:nvSpPr>
        <p:spPr bwMode="auto">
          <a:xfrm>
            <a:off x="10838243" y="5055181"/>
            <a:ext cx="9894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000" kern="0" dirty="0">
                <a:solidFill>
                  <a:srgbClr val="002960"/>
                </a:solidFill>
              </a:rPr>
              <a:t>205.220</a:t>
            </a:r>
          </a:p>
        </p:txBody>
      </p:sp>
      <p:sp>
        <p:nvSpPr>
          <p:cNvPr id="35" name="Fluxograma: Conector 34"/>
          <p:cNvSpPr/>
          <p:nvPr/>
        </p:nvSpPr>
        <p:spPr>
          <a:xfrm>
            <a:off x="10644505" y="4996465"/>
            <a:ext cx="1308344" cy="449779"/>
          </a:xfrm>
          <a:prstGeom prst="flowChartConnector">
            <a:avLst/>
          </a:prstGeom>
          <a:noFill/>
          <a:ln w="381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1837" kern="0" smtClean="0">
              <a:solidFill>
                <a:srgbClr val="FFFFFF"/>
              </a:solidFill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911269" y="671361"/>
            <a:ext cx="57326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600" b="1" kern="0" dirty="0" smtClean="0">
                <a:solidFill>
                  <a:srgbClr val="002960"/>
                </a:solidFill>
              </a:rPr>
              <a:t>ITINERÁRIO 5 – FORMAÇÃO TÉCNICA E PROFISSIONAL</a:t>
            </a:r>
          </a:p>
        </p:txBody>
      </p:sp>
      <p:pic>
        <p:nvPicPr>
          <p:cNvPr id="37" name="Imagem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22945" y="6053210"/>
            <a:ext cx="1382785" cy="48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142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Rounded Rectangle 122"/>
          <p:cNvSpPr/>
          <p:nvPr/>
        </p:nvSpPr>
        <p:spPr>
          <a:xfrm>
            <a:off x="2597533" y="1541998"/>
            <a:ext cx="2037393" cy="13291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002960"/>
                </a:solidFill>
              </a:rPr>
              <a:t>Trabalho</a:t>
            </a:r>
          </a:p>
        </p:txBody>
      </p:sp>
      <p:sp>
        <p:nvSpPr>
          <p:cNvPr id="132" name="Rounded Rectangle 131"/>
          <p:cNvSpPr/>
          <p:nvPr/>
        </p:nvSpPr>
        <p:spPr>
          <a:xfrm>
            <a:off x="5056047" y="1541998"/>
            <a:ext cx="2037393" cy="13291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002960"/>
                </a:solidFill>
              </a:rPr>
              <a:t>Tecnológico</a:t>
            </a:r>
          </a:p>
        </p:txBody>
      </p:sp>
      <p:sp>
        <p:nvSpPr>
          <p:cNvPr id="133" name="Rounded Rectangle 132"/>
          <p:cNvSpPr/>
          <p:nvPr/>
        </p:nvSpPr>
        <p:spPr>
          <a:xfrm>
            <a:off x="7514564" y="1541998"/>
            <a:ext cx="2037393" cy="13291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002960"/>
                </a:solidFill>
              </a:rPr>
              <a:t>Educação</a:t>
            </a:r>
          </a:p>
        </p:txBody>
      </p:sp>
      <p:sp>
        <p:nvSpPr>
          <p:cNvPr id="135" name="Rounded Rectangle 134"/>
          <p:cNvSpPr/>
          <p:nvPr/>
        </p:nvSpPr>
        <p:spPr>
          <a:xfrm>
            <a:off x="2706000" y="1642422"/>
            <a:ext cx="1820460" cy="1128289"/>
          </a:xfrm>
          <a:prstGeom prst="roundRect">
            <a:avLst>
              <a:gd name="adj" fmla="val 11499"/>
            </a:avLst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002960"/>
                </a:solidFill>
              </a:rPr>
              <a:t> </a:t>
            </a:r>
          </a:p>
        </p:txBody>
      </p:sp>
      <p:sp>
        <p:nvSpPr>
          <p:cNvPr id="136" name="Rounded Rectangle 135"/>
          <p:cNvSpPr/>
          <p:nvPr/>
        </p:nvSpPr>
        <p:spPr>
          <a:xfrm>
            <a:off x="5164515" y="1642422"/>
            <a:ext cx="1820460" cy="1128289"/>
          </a:xfrm>
          <a:prstGeom prst="roundRect">
            <a:avLst>
              <a:gd name="adj" fmla="val 11068"/>
            </a:avLst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002960"/>
                </a:solidFill>
              </a:rPr>
              <a:t> </a:t>
            </a:r>
          </a:p>
        </p:txBody>
      </p:sp>
      <p:sp>
        <p:nvSpPr>
          <p:cNvPr id="137" name="Rounded Rectangle 136"/>
          <p:cNvSpPr/>
          <p:nvPr/>
        </p:nvSpPr>
        <p:spPr>
          <a:xfrm>
            <a:off x="7623032" y="1642422"/>
            <a:ext cx="1820460" cy="1128289"/>
          </a:xfrm>
          <a:prstGeom prst="roundRect">
            <a:avLst>
              <a:gd name="adj" fmla="val 10638"/>
            </a:avLst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002960"/>
                </a:solidFill>
              </a:rPr>
              <a:t> </a:t>
            </a:r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815873" y="1564674"/>
            <a:ext cx="2063587" cy="2303278"/>
          </a:xfrm>
          <a:prstGeom prst="rect">
            <a:avLst/>
          </a:prstGeom>
          <a:noFill/>
          <a:ln>
            <a:noFill/>
          </a:ln>
        </p:spPr>
      </p:pic>
      <p:sp>
        <p:nvSpPr>
          <p:cNvPr id="124" name="Rectangle 123"/>
          <p:cNvSpPr/>
          <p:nvPr/>
        </p:nvSpPr>
        <p:spPr>
          <a:xfrm>
            <a:off x="2597532" y="3034929"/>
            <a:ext cx="6952574" cy="13291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731" rIns="3673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002960"/>
                </a:solidFill>
              </a:rPr>
              <a:t>Estudos prospectivos | Mapa do trabalho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2597532" y="4527860"/>
            <a:ext cx="6952574" cy="13291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 err="1">
              <a:solidFill>
                <a:srgbClr val="000000"/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259250" y="1541998"/>
            <a:ext cx="2179756" cy="13291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0968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002960"/>
                </a:solidFill>
              </a:rPr>
              <a:t>Observatórios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259250" y="3034929"/>
            <a:ext cx="2179756" cy="132913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0968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FFFFFF"/>
                </a:solidFill>
              </a:rPr>
              <a:t>Insumos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259250" y="4527860"/>
            <a:ext cx="2179756" cy="132913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0968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632" b="1" dirty="0">
                <a:solidFill>
                  <a:srgbClr val="FFFFFF"/>
                </a:solidFill>
              </a:rPr>
              <a:t>Composição do comitê técnico setorial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259250" y="1541998"/>
            <a:ext cx="475585" cy="13291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3061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259250" y="3034929"/>
            <a:ext cx="475585" cy="132913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3061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259250" y="4527860"/>
            <a:ext cx="475585" cy="132913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3061" b="1" dirty="0">
                <a:solidFill>
                  <a:srgbClr val="FFFFFF"/>
                </a:solidFill>
              </a:rPr>
              <a:t>3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634926" y="2206567"/>
            <a:ext cx="421121" cy="0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>
          <a:xfrm>
            <a:off x="7093441" y="2206567"/>
            <a:ext cx="421123" cy="0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48"/>
          <p:cNvSpPr txBox="1"/>
          <p:nvPr/>
        </p:nvSpPr>
        <p:spPr>
          <a:xfrm>
            <a:off x="7019603" y="4630614"/>
            <a:ext cx="2339837" cy="1142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ts val="306"/>
              </a:spcAft>
              <a:buClr>
                <a:srgbClr val="002960"/>
              </a:buClr>
            </a:pPr>
            <a:r>
              <a:rPr lang="pt-BR" sz="1632" dirty="0">
                <a:solidFill>
                  <a:srgbClr val="000000"/>
                </a:solidFill>
              </a:rPr>
              <a:t>Empresas</a:t>
            </a:r>
          </a:p>
          <a:p>
            <a:pPr lvl="1" fontAlgn="base">
              <a:spcBef>
                <a:spcPct val="0"/>
              </a:spcBef>
              <a:spcAft>
                <a:spcPts val="306"/>
              </a:spcAft>
              <a:buClr>
                <a:srgbClr val="002960"/>
              </a:buClr>
            </a:pPr>
            <a:r>
              <a:rPr lang="pt-BR" sz="1632" dirty="0">
                <a:solidFill>
                  <a:srgbClr val="000000"/>
                </a:solidFill>
              </a:rPr>
              <a:t>Entidades de Classe</a:t>
            </a:r>
          </a:p>
          <a:p>
            <a:pPr lvl="1" fontAlgn="base">
              <a:spcBef>
                <a:spcPct val="0"/>
              </a:spcBef>
              <a:spcAft>
                <a:spcPts val="306"/>
              </a:spcAft>
              <a:buClr>
                <a:srgbClr val="002960"/>
              </a:buClr>
            </a:pPr>
            <a:r>
              <a:rPr lang="pt-BR" sz="1632" dirty="0">
                <a:solidFill>
                  <a:srgbClr val="000000"/>
                </a:solidFill>
              </a:rPr>
              <a:t>Universidade</a:t>
            </a:r>
          </a:p>
          <a:p>
            <a:pPr lvl="1" fontAlgn="base">
              <a:spcBef>
                <a:spcPct val="0"/>
              </a:spcBef>
              <a:spcAft>
                <a:spcPts val="306"/>
              </a:spcAft>
              <a:buClr>
                <a:srgbClr val="002960"/>
              </a:buClr>
            </a:pPr>
            <a:r>
              <a:rPr lang="pt-BR" sz="1632" dirty="0">
                <a:solidFill>
                  <a:srgbClr val="000000"/>
                </a:solidFill>
              </a:rPr>
              <a:t>Setor Público</a:t>
            </a:r>
          </a:p>
        </p:txBody>
      </p:sp>
      <p:pic>
        <p:nvPicPr>
          <p:cNvPr id="46" name="Imagem 25" descr="comite.png"/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3062" y="4582811"/>
            <a:ext cx="1889797" cy="1241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CaixaDeTexto 2"/>
          <p:cNvSpPr txBox="1">
            <a:spLocks noChangeArrowheads="1"/>
          </p:cNvSpPr>
          <p:nvPr/>
        </p:nvSpPr>
        <p:spPr bwMode="auto">
          <a:xfrm>
            <a:off x="2587510" y="5039819"/>
            <a:ext cx="1988674" cy="348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6" rIns="91431" bIns="457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altLang="pt-BR" sz="1632" b="1" dirty="0">
                <a:solidFill>
                  <a:srgbClr val="002960"/>
                </a:solidFill>
                <a:latin typeface="Arial" panose="020B0604020202020204" pitchFamily="34" charset="0"/>
              </a:rPr>
              <a:t>Perfil profissional</a:t>
            </a:r>
          </a:p>
        </p:txBody>
      </p:sp>
      <p:sp>
        <p:nvSpPr>
          <p:cNvPr id="138" name="Rectangle 137"/>
          <p:cNvSpPr/>
          <p:nvPr/>
        </p:nvSpPr>
        <p:spPr>
          <a:xfrm>
            <a:off x="9806025" y="4084523"/>
            <a:ext cx="2076513" cy="176599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7119" rIns="36731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632" dirty="0">
                <a:solidFill>
                  <a:srgbClr val="FFFFFF"/>
                </a:solidFill>
              </a:rPr>
              <a:t>Utilizada em </a:t>
            </a:r>
            <a:r>
              <a:rPr lang="pt-BR" sz="1837" b="1" dirty="0">
                <a:solidFill>
                  <a:srgbClr val="00ADEF">
                    <a:lumMod val="60000"/>
                    <a:lumOff val="40000"/>
                  </a:srgbClr>
                </a:solidFill>
                <a:latin typeface="Georgia" pitchFamily="18" charset="0"/>
              </a:rPr>
              <a:t>100% </a:t>
            </a:r>
            <a:r>
              <a:rPr lang="pt-BR" sz="1632" dirty="0">
                <a:solidFill>
                  <a:srgbClr val="FFFFFF"/>
                </a:solidFill>
              </a:rPr>
              <a:t>dos D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 b="1" dirty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632" dirty="0">
                <a:solidFill>
                  <a:srgbClr val="FFFFFF"/>
                </a:solidFill>
              </a:rPr>
              <a:t>Índice de apropriação</a:t>
            </a:r>
            <a:r>
              <a:rPr lang="pt-BR" sz="1632" b="1" dirty="0">
                <a:solidFill>
                  <a:srgbClr val="FFFFFF"/>
                </a:solidFill>
              </a:rPr>
              <a:t> </a:t>
            </a:r>
            <a:r>
              <a:rPr lang="pt-BR" sz="1837" b="1" dirty="0" smtClean="0">
                <a:solidFill>
                  <a:srgbClr val="00ADEF">
                    <a:lumMod val="60000"/>
                    <a:lumOff val="40000"/>
                  </a:srgbClr>
                </a:solidFill>
                <a:latin typeface="Georgia" pitchFamily="18" charset="0"/>
              </a:rPr>
              <a:t>8,6</a:t>
            </a:r>
            <a:endParaRPr lang="pt-BR" sz="1837" b="1" dirty="0">
              <a:solidFill>
                <a:srgbClr val="00ADEF">
                  <a:lumMod val="60000"/>
                  <a:lumOff val="40000"/>
                </a:srgbClr>
              </a:solidFill>
              <a:latin typeface="Georgia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9222" y="260497"/>
            <a:ext cx="10980238" cy="439672"/>
          </a:xfrm>
        </p:spPr>
        <p:txBody>
          <a:bodyPr/>
          <a:lstStyle/>
          <a:p>
            <a:r>
              <a:rPr lang="pt-BR" sz="2800" b="1" kern="1200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ERFIS PROFISSIONAIS DEFINIDOS PELO MERCADO DE TRABALHO</a:t>
            </a:r>
            <a:endParaRPr lang="pt-BR" sz="2800" dirty="0">
              <a:solidFill>
                <a:schemeClr val="accent4"/>
              </a:solidFill>
              <a:latin typeface="Calibri" panose="020F0502020204030204" pitchFamily="34" charset="0"/>
            </a:endParaRPr>
          </a:p>
        </p:txBody>
      </p:sp>
      <p:pic>
        <p:nvPicPr>
          <p:cNvPr id="25" name="Imagem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22945" y="6053210"/>
            <a:ext cx="1382785" cy="48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062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"/>
          <p:cNvGrpSpPr/>
          <p:nvPr/>
        </p:nvGrpSpPr>
        <p:grpSpPr>
          <a:xfrm>
            <a:off x="937549" y="995423"/>
            <a:ext cx="6938661" cy="5161443"/>
            <a:chOff x="115930" y="1639445"/>
            <a:chExt cx="3452770" cy="4361324"/>
          </a:xfrm>
        </p:grpSpPr>
        <p:sp>
          <p:nvSpPr>
            <p:cNvPr id="6" name="Retângulo 5"/>
            <p:cNvSpPr/>
            <p:nvPr/>
          </p:nvSpPr>
          <p:spPr>
            <a:xfrm>
              <a:off x="298722" y="1639445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Perfil</a:t>
              </a:r>
            </a:p>
          </p:txBody>
        </p:sp>
        <p:sp>
          <p:nvSpPr>
            <p:cNvPr id="8" name="Retângulo 7"/>
            <p:cNvSpPr/>
            <p:nvPr/>
          </p:nvSpPr>
          <p:spPr>
            <a:xfrm>
              <a:off x="298722" y="2080745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Desenho Curricular</a:t>
              </a:r>
            </a:p>
          </p:txBody>
        </p:sp>
        <p:sp>
          <p:nvSpPr>
            <p:cNvPr id="9" name="Retângulo 8"/>
            <p:cNvSpPr/>
            <p:nvPr/>
          </p:nvSpPr>
          <p:spPr>
            <a:xfrm>
              <a:off x="298722" y="2520261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Plano de Curso</a:t>
              </a:r>
            </a:p>
          </p:txBody>
        </p:sp>
        <p:sp>
          <p:nvSpPr>
            <p:cNvPr id="10" name="Retângulo 9"/>
            <p:cNvSpPr/>
            <p:nvPr/>
          </p:nvSpPr>
          <p:spPr>
            <a:xfrm>
              <a:off x="298722" y="2965818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Planos de Ensino</a:t>
              </a:r>
            </a:p>
          </p:txBody>
        </p:sp>
        <p:sp>
          <p:nvSpPr>
            <p:cNvPr id="11" name="Retângulo 10"/>
            <p:cNvSpPr/>
            <p:nvPr/>
          </p:nvSpPr>
          <p:spPr>
            <a:xfrm>
              <a:off x="298722" y="3411374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Livros Didáticos</a:t>
              </a:r>
            </a:p>
          </p:txBody>
        </p:sp>
        <p:sp>
          <p:nvSpPr>
            <p:cNvPr id="12" name="Retângulo 11"/>
            <p:cNvSpPr/>
            <p:nvPr/>
          </p:nvSpPr>
          <p:spPr>
            <a:xfrm>
              <a:off x="298722" y="3844849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Materiais Online</a:t>
              </a:r>
            </a:p>
          </p:txBody>
        </p:sp>
        <p:sp>
          <p:nvSpPr>
            <p:cNvPr id="13" name="Retângulo 12"/>
            <p:cNvSpPr/>
            <p:nvPr/>
          </p:nvSpPr>
          <p:spPr>
            <a:xfrm>
              <a:off x="298722" y="4723880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Kits e Simuladores</a:t>
              </a:r>
            </a:p>
          </p:txBody>
        </p:sp>
        <p:sp>
          <p:nvSpPr>
            <p:cNvPr id="14" name="Retângulo 13"/>
            <p:cNvSpPr/>
            <p:nvPr/>
          </p:nvSpPr>
          <p:spPr>
            <a:xfrm>
              <a:off x="298722" y="5169848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Capacitação dos Docentes</a:t>
              </a:r>
            </a:p>
          </p:txBody>
        </p:sp>
        <p:sp>
          <p:nvSpPr>
            <p:cNvPr id="15" name="Retângulo 14"/>
            <p:cNvSpPr/>
            <p:nvPr/>
          </p:nvSpPr>
          <p:spPr>
            <a:xfrm>
              <a:off x="293730" y="5615815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Avaliação dos </a:t>
              </a:r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Estudantes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298722" y="4284365"/>
              <a:ext cx="3079478" cy="384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>
                  <a:solidFill>
                    <a:schemeClr val="tx2"/>
                  </a:solidFill>
                  <a:latin typeface="Calibri" panose="020F0502020204030204" pitchFamily="34" charset="0"/>
                </a:rPr>
                <a:t>Situações de  Aprendizagem</a:t>
              </a:r>
            </a:p>
          </p:txBody>
        </p:sp>
        <p:sp>
          <p:nvSpPr>
            <p:cNvPr id="17" name="Retângulo 10"/>
            <p:cNvSpPr/>
            <p:nvPr/>
          </p:nvSpPr>
          <p:spPr>
            <a:xfrm>
              <a:off x="120922" y="1639445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" name="Retângulo 11"/>
            <p:cNvSpPr/>
            <p:nvPr/>
          </p:nvSpPr>
          <p:spPr>
            <a:xfrm>
              <a:off x="120922" y="2080745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Retângulo 12"/>
            <p:cNvSpPr/>
            <p:nvPr/>
          </p:nvSpPr>
          <p:spPr>
            <a:xfrm>
              <a:off x="120922" y="2520261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" name="Retângulo 13"/>
            <p:cNvSpPr/>
            <p:nvPr/>
          </p:nvSpPr>
          <p:spPr>
            <a:xfrm>
              <a:off x="120922" y="2965818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Retângulo 14"/>
            <p:cNvSpPr/>
            <p:nvPr/>
          </p:nvSpPr>
          <p:spPr>
            <a:xfrm>
              <a:off x="120922" y="3411374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" name="Retângulo 15"/>
            <p:cNvSpPr/>
            <p:nvPr/>
          </p:nvSpPr>
          <p:spPr>
            <a:xfrm>
              <a:off x="120922" y="3844849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3" name="Retângulo 16"/>
            <p:cNvSpPr/>
            <p:nvPr/>
          </p:nvSpPr>
          <p:spPr>
            <a:xfrm>
              <a:off x="120922" y="4723880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4" name="Retângulo 17"/>
            <p:cNvSpPr/>
            <p:nvPr/>
          </p:nvSpPr>
          <p:spPr>
            <a:xfrm>
              <a:off x="120922" y="5169848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Retângulo 18"/>
            <p:cNvSpPr/>
            <p:nvPr/>
          </p:nvSpPr>
          <p:spPr>
            <a:xfrm>
              <a:off x="115930" y="5615815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6" name="Retângulo 19"/>
            <p:cNvSpPr/>
            <p:nvPr/>
          </p:nvSpPr>
          <p:spPr>
            <a:xfrm>
              <a:off x="120922" y="4284365"/>
              <a:ext cx="133078" cy="3849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 </a:t>
              </a:r>
              <a:endParaRPr lang="pt-BR" sz="24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" name="Retângulo 10"/>
            <p:cNvSpPr/>
            <p:nvPr/>
          </p:nvSpPr>
          <p:spPr>
            <a:xfrm>
              <a:off x="3435622" y="1639445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  <p:sp>
          <p:nvSpPr>
            <p:cNvPr id="28" name="Retângulo 11"/>
            <p:cNvSpPr/>
            <p:nvPr/>
          </p:nvSpPr>
          <p:spPr>
            <a:xfrm>
              <a:off x="3435622" y="2080745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  <p:sp>
          <p:nvSpPr>
            <p:cNvPr id="29" name="Retângulo 12"/>
            <p:cNvSpPr/>
            <p:nvPr/>
          </p:nvSpPr>
          <p:spPr>
            <a:xfrm>
              <a:off x="3435622" y="2520261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  <p:sp>
          <p:nvSpPr>
            <p:cNvPr id="30" name="Retângulo 13"/>
            <p:cNvSpPr/>
            <p:nvPr/>
          </p:nvSpPr>
          <p:spPr>
            <a:xfrm>
              <a:off x="3435622" y="2965818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  <p:sp>
          <p:nvSpPr>
            <p:cNvPr id="31" name="Retângulo 14"/>
            <p:cNvSpPr/>
            <p:nvPr/>
          </p:nvSpPr>
          <p:spPr>
            <a:xfrm>
              <a:off x="3435622" y="3411374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  <p:sp>
          <p:nvSpPr>
            <p:cNvPr id="32" name="Retângulo 15"/>
            <p:cNvSpPr/>
            <p:nvPr/>
          </p:nvSpPr>
          <p:spPr>
            <a:xfrm>
              <a:off x="3435622" y="3844849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  <p:sp>
          <p:nvSpPr>
            <p:cNvPr id="33" name="Retângulo 16"/>
            <p:cNvSpPr/>
            <p:nvPr/>
          </p:nvSpPr>
          <p:spPr>
            <a:xfrm>
              <a:off x="3435622" y="4723880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  <p:sp>
          <p:nvSpPr>
            <p:cNvPr id="34" name="Retângulo 17"/>
            <p:cNvSpPr/>
            <p:nvPr/>
          </p:nvSpPr>
          <p:spPr>
            <a:xfrm>
              <a:off x="3435622" y="5169848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  <p:sp>
          <p:nvSpPr>
            <p:cNvPr id="35" name="Retângulo 18"/>
            <p:cNvSpPr/>
            <p:nvPr/>
          </p:nvSpPr>
          <p:spPr>
            <a:xfrm>
              <a:off x="3430630" y="5615815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  <p:sp>
          <p:nvSpPr>
            <p:cNvPr id="36" name="Retângulo 19"/>
            <p:cNvSpPr/>
            <p:nvPr/>
          </p:nvSpPr>
          <p:spPr>
            <a:xfrm>
              <a:off x="3435622" y="4284365"/>
              <a:ext cx="133078" cy="3849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216000" tIns="35280" rIns="35280" bIns="35280" rtlCol="0" anchor="ctr"/>
            <a:lstStyle/>
            <a:p>
              <a:r>
                <a:rPr lang="pt-BR" sz="2400" dirty="0" smtClean="0">
                  <a:latin typeface="Calibri" panose="020F0502020204030204" pitchFamily="34" charset="0"/>
                </a:rPr>
                <a:t> </a:t>
              </a:r>
              <a:endParaRPr lang="pt-BR" sz="240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CaixaDeTexto 3"/>
          <p:cNvSpPr txBox="1"/>
          <p:nvPr/>
        </p:nvSpPr>
        <p:spPr>
          <a:xfrm>
            <a:off x="937549" y="185179"/>
            <a:ext cx="60072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Calibri" panose="020F0502020204030204" pitchFamily="34" charset="0"/>
                <a:cs typeface="Andalus" panose="02020603050405020304" pitchFamily="18" charset="-78"/>
              </a:rPr>
              <a:t>PILARES DO PROJETO</a:t>
            </a:r>
            <a:endParaRPr lang="pt-BR" sz="2800" b="1" dirty="0">
              <a:solidFill>
                <a:schemeClr val="tx2"/>
              </a:solidFill>
              <a:latin typeface="Calibri" panose="020F0502020204030204" pitchFamily="34" charset="0"/>
              <a:cs typeface="Andalus" panose="02020603050405020304" pitchFamily="18" charset="-78"/>
            </a:endParaRPr>
          </a:p>
        </p:txBody>
      </p:sp>
      <p:pic>
        <p:nvPicPr>
          <p:cNvPr id="38" name="Imagem 3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22945" y="6053210"/>
            <a:ext cx="1382785" cy="48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324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tângulo 24"/>
          <p:cNvSpPr/>
          <p:nvPr/>
        </p:nvSpPr>
        <p:spPr>
          <a:xfrm>
            <a:off x="196772" y="866297"/>
            <a:ext cx="9180513" cy="5343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/>
          <p:cNvSpPr/>
          <p:nvPr/>
        </p:nvSpPr>
        <p:spPr>
          <a:xfrm>
            <a:off x="196772" y="829780"/>
            <a:ext cx="9180513" cy="431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7" name="CaixaDeTexto 1"/>
          <p:cNvSpPr txBox="1">
            <a:spLocks noChangeArrowheads="1"/>
          </p:cNvSpPr>
          <p:nvPr/>
        </p:nvSpPr>
        <p:spPr bwMode="auto">
          <a:xfrm>
            <a:off x="3436931" y="829780"/>
            <a:ext cx="264463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pt-BR" altLang="pt-BR" sz="2000" b="1">
                <a:latin typeface="Segoe UI" pitchFamily="34" charset="0"/>
                <a:cs typeface="Segoe UI" pitchFamily="34" charset="0"/>
              </a:rPr>
              <a:t>28 ÁREAS ATUAÇÃO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1420734" y="1618768"/>
            <a:ext cx="3168651" cy="453970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limentos e Bebidas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utomação e Mecatrônica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utomotiva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elulose e Papel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onstrução Civil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ouro e Calçados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letroeletrônica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nergia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emologia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estão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ráfica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ogística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adeira e Mobiliário</a:t>
            </a:r>
          </a:p>
          <a:p>
            <a:pPr algn="r"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eio Ambiente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4805284" y="1618770"/>
            <a:ext cx="2952751" cy="453970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pt-BR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etalmecânica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etrologia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neração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nerais não metálicos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etróleo e Gás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olímeros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Química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Refrigeração e Climatização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gurança do Trabalho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cnologia de Informação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lecomunicações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êxtil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ransporte</a:t>
            </a:r>
          </a:p>
          <a:p>
            <a:pPr>
              <a:spcBef>
                <a:spcPts val="600"/>
              </a:spcBef>
              <a:defRPr/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Vestuário</a:t>
            </a:r>
          </a:p>
        </p:txBody>
      </p:sp>
      <p:pic>
        <p:nvPicPr>
          <p:cNvPr id="30" name="Imagem 10" descr="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85" y="4643997"/>
            <a:ext cx="1798639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agem 11" descr="2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85" y="2991405"/>
            <a:ext cx="1798639" cy="143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agem 12" descr="3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85" y="1335647"/>
            <a:ext cx="1798639" cy="1436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Imagem 13" descr="4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578" y="4656422"/>
            <a:ext cx="1798637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Imagem 14" descr="5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578" y="3003830"/>
            <a:ext cx="1798637" cy="143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Imagem 15" descr="6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578" y="1348072"/>
            <a:ext cx="1798637" cy="1436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ítulo 1"/>
          <p:cNvSpPr>
            <a:spLocks noGrp="1"/>
          </p:cNvSpPr>
          <p:nvPr>
            <p:ph type="title"/>
          </p:nvPr>
        </p:nvSpPr>
        <p:spPr>
          <a:xfrm>
            <a:off x="899222" y="260497"/>
            <a:ext cx="10980238" cy="439672"/>
          </a:xfrm>
        </p:spPr>
        <p:txBody>
          <a:bodyPr/>
          <a:lstStyle/>
          <a:p>
            <a:r>
              <a:rPr lang="pt-BR" sz="2800" b="1" kern="1200" dirty="0" smtClean="0">
                <a:solidFill>
                  <a:schemeClr val="accent4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URRÍCULOS ADEQUADOS ÀS ÁREAS TECNOLÓGICAS DA INDÚSTRIA</a:t>
            </a:r>
            <a:endParaRPr lang="pt-BR" sz="2800" dirty="0">
              <a:solidFill>
                <a:schemeClr val="accent4"/>
              </a:solidFill>
              <a:latin typeface="Calibri" panose="020F0502020204030204" pitchFamily="34" charset="0"/>
            </a:endParaRPr>
          </a:p>
        </p:txBody>
      </p:sp>
      <p:pic>
        <p:nvPicPr>
          <p:cNvPr id="38" name="Imagem 3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222945" y="6053210"/>
            <a:ext cx="1382785" cy="48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374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8" descr="Resultado de imagem para olimpiada do conhecimento 2016"/>
          <p:cNvSpPr>
            <a:spLocks noChangeAspect="1" noChangeArrowheads="1"/>
          </p:cNvSpPr>
          <p:nvPr/>
        </p:nvSpPr>
        <p:spPr bwMode="auto">
          <a:xfrm>
            <a:off x="155663" y="-144462"/>
            <a:ext cx="304796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</a:endParaRPr>
          </a:p>
        </p:txBody>
      </p:sp>
      <p:cxnSp>
        <p:nvCxnSpPr>
          <p:cNvPr id="14" name="Conector reto 19"/>
          <p:cNvCxnSpPr/>
          <p:nvPr/>
        </p:nvCxnSpPr>
        <p:spPr>
          <a:xfrm>
            <a:off x="4641101" y="2186833"/>
            <a:ext cx="2317750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60000"/>
              </a:sysClr>
            </a:solidFill>
            <a:prstDash val="solid"/>
            <a:miter lim="800000"/>
          </a:ln>
          <a:effectLst/>
        </p:spPr>
      </p:cxnSp>
      <p:cxnSp>
        <p:nvCxnSpPr>
          <p:cNvPr id="15" name="Conector reto 21"/>
          <p:cNvCxnSpPr/>
          <p:nvPr/>
        </p:nvCxnSpPr>
        <p:spPr>
          <a:xfrm>
            <a:off x="4641101" y="2783733"/>
            <a:ext cx="2317750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60000"/>
              </a:sysClr>
            </a:solidFill>
            <a:prstDash val="solid"/>
            <a:miter lim="800000"/>
          </a:ln>
          <a:effectLst/>
        </p:spPr>
      </p:cxnSp>
      <p:cxnSp>
        <p:nvCxnSpPr>
          <p:cNvPr id="16" name="Conector reto 22"/>
          <p:cNvCxnSpPr/>
          <p:nvPr/>
        </p:nvCxnSpPr>
        <p:spPr>
          <a:xfrm>
            <a:off x="2618824" y="3602982"/>
            <a:ext cx="2317750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60000"/>
              </a:sysClr>
            </a:solidFill>
            <a:prstDash val="solid"/>
            <a:miter lim="800000"/>
          </a:ln>
          <a:effectLst/>
        </p:spPr>
      </p:cxnSp>
      <p:sp>
        <p:nvSpPr>
          <p:cNvPr id="17" name="Retângulo 13"/>
          <p:cNvSpPr>
            <a:spLocks noChangeArrowheads="1"/>
          </p:cNvSpPr>
          <p:nvPr/>
        </p:nvSpPr>
        <p:spPr bwMode="auto">
          <a:xfrm>
            <a:off x="890037" y="160339"/>
            <a:ext cx="10472738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pt-BR" sz="3200" b="1" dirty="0" smtClean="0">
                <a:solidFill>
                  <a:srgbClr val="002060"/>
                </a:solidFill>
                <a:ea typeface="ＭＳ Ｐゴシック" panose="020B0600070205080204" pitchFamily="34" charset="-128"/>
                <a:cs typeface="DokChampa" panose="020B0604020202020204" pitchFamily="34" charset="-34"/>
              </a:rPr>
              <a:t>MODELO DE OFERTA DO PROJETO</a:t>
            </a:r>
            <a:endParaRPr lang="pt-BR" sz="3200" b="1" dirty="0">
              <a:solidFill>
                <a:srgbClr val="002060"/>
              </a:solidFill>
              <a:ea typeface="ＭＳ Ｐゴシック" panose="020B0600070205080204" pitchFamily="34" charset="-128"/>
              <a:cs typeface="DokChampa" panose="020B0604020202020204" pitchFamily="34" charset="-34"/>
            </a:endParaRPr>
          </a:p>
        </p:txBody>
      </p:sp>
      <p:graphicFrame>
        <p:nvGraphicFramePr>
          <p:cNvPr id="18" name="Diagrama 17"/>
          <p:cNvGraphicFramePr/>
          <p:nvPr>
            <p:extLst>
              <p:ext uri="{D42A27DB-BD31-4B8C-83A1-F6EECF244321}">
                <p14:modId xmlns:p14="http://schemas.microsoft.com/office/powerpoint/2010/main" val="1330737505"/>
              </p:ext>
            </p:extLst>
          </p:nvPr>
        </p:nvGraphicFramePr>
        <p:xfrm>
          <a:off x="243067" y="1502177"/>
          <a:ext cx="11468039" cy="42016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24" name="Imagem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22945" y="6053210"/>
            <a:ext cx="1382785" cy="48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709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8" descr="Resultado de imagem para olimpiada do conhecimento 2016"/>
          <p:cNvSpPr>
            <a:spLocks noChangeAspect="1" noChangeArrowheads="1"/>
          </p:cNvSpPr>
          <p:nvPr/>
        </p:nvSpPr>
        <p:spPr bwMode="auto">
          <a:xfrm>
            <a:off x="155663" y="-144462"/>
            <a:ext cx="304796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-10179" y="861037"/>
            <a:ext cx="7288295" cy="8640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5357902" y="861037"/>
            <a:ext cx="1920213" cy="86409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 smtClean="0">
                <a:solidFill>
                  <a:prstClr val="white"/>
                </a:solidFill>
              </a:rPr>
              <a:t>Iniciação Profissional</a:t>
            </a:r>
            <a:endParaRPr lang="pt-BR" sz="1600" b="1" dirty="0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-10179" y="1797141"/>
            <a:ext cx="7271993" cy="8939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prstClr val="white"/>
                </a:solidFill>
              </a:rPr>
              <a:t>CV</a:t>
            </a: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24749" y="2046824"/>
            <a:ext cx="2663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2° ano 		BNCC</a:t>
            </a:r>
            <a:endParaRPr lang="pt-BR" sz="16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6" name="Retângulo 15"/>
          <p:cNvSpPr/>
          <p:nvPr/>
        </p:nvSpPr>
        <p:spPr>
          <a:xfrm>
            <a:off x="2899283" y="1797141"/>
            <a:ext cx="4378833" cy="86409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 smtClean="0">
                <a:solidFill>
                  <a:prstClr val="white"/>
                </a:solidFill>
              </a:rPr>
              <a:t>Módulo – Área Industrial</a:t>
            </a:r>
            <a:endParaRPr lang="pt-BR" sz="1600" b="1" dirty="0">
              <a:solidFill>
                <a:prstClr val="white"/>
              </a:solidFill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674147" y="3064616"/>
            <a:ext cx="480053" cy="49098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18" name="Chave esquerda 17"/>
          <p:cNvSpPr/>
          <p:nvPr/>
        </p:nvSpPr>
        <p:spPr>
          <a:xfrm rot="5400000">
            <a:off x="3429276" y="-609235"/>
            <a:ext cx="553400" cy="7144279"/>
          </a:xfrm>
          <a:prstGeom prst="leftBrac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1384729" y="3075721"/>
            <a:ext cx="480053" cy="49098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prstClr val="white"/>
                </a:solidFill>
              </a:rPr>
              <a:t>2</a:t>
            </a:r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2208399" y="3075721"/>
            <a:ext cx="480053" cy="49098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prstClr val="white"/>
                </a:solidFill>
              </a:rPr>
              <a:t>3</a:t>
            </a:r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2887077" y="3073016"/>
            <a:ext cx="480053" cy="49098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prstClr val="white"/>
                </a:solidFill>
              </a:rPr>
              <a:t>4</a:t>
            </a:r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2" name="Retângulo 21"/>
          <p:cNvSpPr/>
          <p:nvPr/>
        </p:nvSpPr>
        <p:spPr>
          <a:xfrm>
            <a:off x="3510462" y="3075721"/>
            <a:ext cx="480053" cy="49098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prstClr val="white"/>
                </a:solidFill>
              </a:rPr>
              <a:t>5</a:t>
            </a:r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5069870" y="3086763"/>
            <a:ext cx="576064" cy="51527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solidFill>
                  <a:prstClr val="white"/>
                </a:solidFill>
              </a:rPr>
              <a:t>16</a:t>
            </a:r>
            <a:endParaRPr lang="pt-BR" sz="1200" b="1" dirty="0">
              <a:solidFill>
                <a:prstClr val="white"/>
              </a:solidFill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5754055" y="3094537"/>
            <a:ext cx="576064" cy="49098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prstClr val="white"/>
                </a:solidFill>
              </a:rPr>
              <a:t>27</a:t>
            </a:r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5" name="Retângulo 24"/>
          <p:cNvSpPr/>
          <p:nvPr/>
        </p:nvSpPr>
        <p:spPr>
          <a:xfrm>
            <a:off x="6470541" y="3102131"/>
            <a:ext cx="672073" cy="49098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prstClr val="white"/>
                </a:solidFill>
              </a:rPr>
              <a:t>28</a:t>
            </a:r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6" name="Elipse 25"/>
          <p:cNvSpPr/>
          <p:nvPr/>
        </p:nvSpPr>
        <p:spPr>
          <a:xfrm>
            <a:off x="4070274" y="3463489"/>
            <a:ext cx="192021" cy="12962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4368929" y="3472411"/>
            <a:ext cx="192021" cy="12962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8" name="Elipse 27"/>
          <p:cNvSpPr/>
          <p:nvPr/>
        </p:nvSpPr>
        <p:spPr>
          <a:xfrm>
            <a:off x="4662763" y="3465701"/>
            <a:ext cx="192021" cy="12962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9393875" y="568862"/>
            <a:ext cx="2763397" cy="438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u="sng" dirty="0" smtClean="0">
                <a:solidFill>
                  <a:srgbClr val="C00000"/>
                </a:solidFill>
              </a:rPr>
              <a:t>Áreas Tecnológicas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Alimentos e Bebidas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Automação e Mecatrônic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Automotiv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Celulose e papel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Construção civil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Construção naval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Couro e calcados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Eletroeletrônic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Energi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Gestão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Gráfica e Editorial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Joalheri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Logístic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Madeira e Mobiliário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Meio Ambiente</a:t>
            </a:r>
          </a:p>
          <a:p>
            <a:pPr marL="228600" indent="-228600">
              <a:buFont typeface="+mj-lt"/>
              <a:buAutoNum type="arabicPeriod"/>
            </a:pPr>
            <a:r>
              <a:rPr lang="pt-BR" b="1" dirty="0">
                <a:solidFill>
                  <a:prstClr val="black"/>
                </a:solidFill>
              </a:rPr>
              <a:t>Metalmecânic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Metrologia 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Mineração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Minerais Não Metálicos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Petróleo e Gás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Polímeros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Químic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Refrigeração e Climatização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Segurança do Trabalho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b="1" dirty="0">
                <a:solidFill>
                  <a:prstClr val="black"/>
                </a:solidFill>
              </a:rPr>
              <a:t>Tecnologia da Informação</a:t>
            </a:r>
            <a:endParaRPr lang="pt-BR" sz="900" dirty="0">
              <a:solidFill>
                <a:prstClr val="black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Telecomunicações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Têxtil e Vestuário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900" dirty="0">
                <a:solidFill>
                  <a:prstClr val="black"/>
                </a:solidFill>
              </a:rPr>
              <a:t>Transporte </a:t>
            </a:r>
            <a:r>
              <a:rPr lang="pt-BR" sz="900" dirty="0" smtClean="0">
                <a:solidFill>
                  <a:prstClr val="black"/>
                </a:solidFill>
              </a:rPr>
              <a:t>Ferroviário</a:t>
            </a:r>
            <a:endParaRPr lang="pt-BR" sz="900" dirty="0">
              <a:solidFill>
                <a:prstClr val="black"/>
              </a:solidFill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51674" y="3815666"/>
            <a:ext cx="7216287" cy="8640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752351" y="3815666"/>
            <a:ext cx="5525765" cy="86409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600" b="1" dirty="0" smtClean="0">
                <a:solidFill>
                  <a:prstClr val="white"/>
                </a:solidFill>
              </a:rPr>
              <a:t>Módulo Específico </a:t>
            </a:r>
          </a:p>
          <a:p>
            <a:r>
              <a:rPr lang="pt-BR" sz="1600" b="1" dirty="0" smtClean="0">
                <a:solidFill>
                  <a:prstClr val="white"/>
                </a:solidFill>
              </a:rPr>
              <a:t> Habilitaçã</a:t>
            </a:r>
            <a:r>
              <a:rPr lang="pt-BR" b="1" dirty="0" smtClean="0">
                <a:solidFill>
                  <a:prstClr val="white"/>
                </a:solidFill>
              </a:rPr>
              <a:t>o </a:t>
            </a:r>
            <a:endParaRPr lang="pt-BR" b="1" dirty="0">
              <a:solidFill>
                <a:prstClr val="white"/>
              </a:solidFill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24749" y="3967812"/>
            <a:ext cx="10561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prstClr val="black"/>
                </a:solidFill>
              </a:rPr>
              <a:t>3° ano</a:t>
            </a:r>
            <a:endParaRPr lang="pt-BR" b="1" dirty="0">
              <a:solidFill>
                <a:prstClr val="black"/>
              </a:solidFill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7508645" y="3139348"/>
            <a:ext cx="15023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prstClr val="black"/>
                </a:solidFill>
              </a:rPr>
              <a:t>Áreas tecnológicas</a:t>
            </a:r>
            <a:endParaRPr lang="pt-BR" sz="1400" b="1" dirty="0">
              <a:solidFill>
                <a:prstClr val="black"/>
              </a:solidFill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5126392" y="4247715"/>
            <a:ext cx="519543" cy="357738"/>
          </a:xfrm>
          <a:prstGeom prst="rect">
            <a:avLst/>
          </a:prstGeom>
          <a:solidFill>
            <a:schemeClr val="tx2"/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solidFill>
                  <a:prstClr val="white"/>
                </a:solidFill>
              </a:rPr>
              <a:t>16</a:t>
            </a:r>
            <a:endParaRPr lang="pt-BR" sz="1200" b="1" dirty="0">
              <a:solidFill>
                <a:prstClr val="white"/>
              </a:solidFill>
            </a:endParaRPr>
          </a:p>
        </p:txBody>
      </p:sp>
      <p:cxnSp>
        <p:nvCxnSpPr>
          <p:cNvPr id="35" name="Conector reto 34"/>
          <p:cNvCxnSpPr>
            <a:stCxn id="23" idx="2"/>
            <a:endCxn id="34" idx="0"/>
          </p:cNvCxnSpPr>
          <p:nvPr/>
        </p:nvCxnSpPr>
        <p:spPr>
          <a:xfrm>
            <a:off x="5357902" y="3602037"/>
            <a:ext cx="28261" cy="645678"/>
          </a:xfrm>
          <a:prstGeom prst="line">
            <a:avLst/>
          </a:prstGeom>
          <a:ln w="57150">
            <a:solidFill>
              <a:srgbClr val="FFFF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have esquerda 35"/>
          <p:cNvSpPr/>
          <p:nvPr/>
        </p:nvSpPr>
        <p:spPr>
          <a:xfrm rot="5400000">
            <a:off x="4926024" y="-257977"/>
            <a:ext cx="520748" cy="10249139"/>
          </a:xfrm>
          <a:prstGeom prst="leftBrace">
            <a:avLst>
              <a:gd name="adj1" fmla="val 8333"/>
              <a:gd name="adj2" fmla="val 47600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black"/>
              </a:solidFill>
            </a:endParaRPr>
          </a:p>
        </p:txBody>
      </p:sp>
      <p:sp>
        <p:nvSpPr>
          <p:cNvPr id="37" name="CaixaDeTexto 36"/>
          <p:cNvSpPr txBox="1"/>
          <p:nvPr/>
        </p:nvSpPr>
        <p:spPr>
          <a:xfrm>
            <a:off x="3229302" y="4843439"/>
            <a:ext cx="4320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prstClr val="black"/>
                </a:solidFill>
              </a:rPr>
              <a:t>Itinerários formativos</a:t>
            </a:r>
            <a:endParaRPr lang="pt-BR" b="1" dirty="0">
              <a:solidFill>
                <a:prstClr val="black"/>
              </a:solidFill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230456" y="5238052"/>
            <a:ext cx="2218703" cy="493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 smtClean="0">
                <a:solidFill>
                  <a:prstClr val="black"/>
                </a:solidFill>
              </a:rPr>
              <a:t>Técnico em Fabricação Mecânica</a:t>
            </a:r>
            <a:endParaRPr lang="pt-BR" sz="1400" b="1" dirty="0">
              <a:solidFill>
                <a:prstClr val="black"/>
              </a:solidFill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2583220" y="5238051"/>
            <a:ext cx="2209723" cy="493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 smtClean="0">
                <a:solidFill>
                  <a:prstClr val="black"/>
                </a:solidFill>
              </a:rPr>
              <a:t>Técnico em Manutenção de Máquinas Industriais</a:t>
            </a:r>
            <a:endParaRPr lang="pt-BR" sz="1400" b="1" dirty="0">
              <a:solidFill>
                <a:prstClr val="black"/>
              </a:solidFill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2568942" y="5873758"/>
            <a:ext cx="2209723" cy="493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 smtClean="0">
                <a:solidFill>
                  <a:prstClr val="black"/>
                </a:solidFill>
              </a:rPr>
              <a:t>Técnico em Manutenção de Máquinas Pesadas</a:t>
            </a:r>
            <a:endParaRPr lang="pt-BR" sz="1400" b="1" dirty="0">
              <a:solidFill>
                <a:prstClr val="black"/>
              </a:solidFill>
            </a:endParaRPr>
          </a:p>
        </p:txBody>
      </p:sp>
      <p:sp>
        <p:nvSpPr>
          <p:cNvPr id="41" name="Retângulo 40"/>
          <p:cNvSpPr/>
          <p:nvPr/>
        </p:nvSpPr>
        <p:spPr>
          <a:xfrm>
            <a:off x="5285083" y="5238050"/>
            <a:ext cx="2209723" cy="493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 smtClean="0">
                <a:solidFill>
                  <a:prstClr val="black"/>
                </a:solidFill>
              </a:rPr>
              <a:t>Técnico em Metalurgia</a:t>
            </a:r>
            <a:endParaRPr lang="pt-BR" sz="1400" b="1" dirty="0">
              <a:solidFill>
                <a:prstClr val="black"/>
              </a:solidFill>
            </a:endParaRPr>
          </a:p>
        </p:txBody>
      </p:sp>
      <p:sp>
        <p:nvSpPr>
          <p:cNvPr id="43" name="Retângulo 42"/>
          <p:cNvSpPr/>
          <p:nvPr/>
        </p:nvSpPr>
        <p:spPr>
          <a:xfrm>
            <a:off x="7813212" y="5238052"/>
            <a:ext cx="2209723" cy="493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 smtClean="0">
                <a:solidFill>
                  <a:prstClr val="black"/>
                </a:solidFill>
              </a:rPr>
              <a:t>Técnico em Soldagem</a:t>
            </a:r>
            <a:endParaRPr lang="pt-BR" sz="1400" b="1" dirty="0">
              <a:solidFill>
                <a:prstClr val="black"/>
              </a:solidFill>
            </a:endParaRPr>
          </a:p>
        </p:txBody>
      </p:sp>
      <p:sp>
        <p:nvSpPr>
          <p:cNvPr id="44" name="Retângulo 43"/>
          <p:cNvSpPr/>
          <p:nvPr/>
        </p:nvSpPr>
        <p:spPr>
          <a:xfrm>
            <a:off x="5315521" y="5873758"/>
            <a:ext cx="2209723" cy="493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 smtClean="0">
                <a:solidFill>
                  <a:prstClr val="black"/>
                </a:solidFill>
              </a:rPr>
              <a:t>Técnico em Mecânica</a:t>
            </a:r>
            <a:endParaRPr lang="pt-BR" sz="1400" b="1" dirty="0">
              <a:solidFill>
                <a:prstClr val="black"/>
              </a:solidFill>
            </a:endParaRPr>
          </a:p>
        </p:txBody>
      </p:sp>
      <p:sp>
        <p:nvSpPr>
          <p:cNvPr id="45" name="Retângulo 44"/>
          <p:cNvSpPr/>
          <p:nvPr/>
        </p:nvSpPr>
        <p:spPr>
          <a:xfrm>
            <a:off x="7813212" y="5873757"/>
            <a:ext cx="2209723" cy="493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 smtClean="0">
                <a:solidFill>
                  <a:prstClr val="black"/>
                </a:solidFill>
              </a:rPr>
              <a:t>Técnico em Eletromecânica</a:t>
            </a:r>
            <a:endParaRPr lang="pt-BR" sz="1400" b="1" dirty="0">
              <a:solidFill>
                <a:prstClr val="black"/>
              </a:solidFill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239435" y="5873758"/>
            <a:ext cx="2209723" cy="4934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 smtClean="0">
                <a:solidFill>
                  <a:prstClr val="black"/>
                </a:solidFill>
              </a:rPr>
              <a:t>Técnico em Mecânica de precisão</a:t>
            </a:r>
            <a:endParaRPr lang="pt-BR" sz="1400" b="1" dirty="0">
              <a:solidFill>
                <a:prstClr val="black"/>
              </a:solidFill>
            </a:endParaRPr>
          </a:p>
        </p:txBody>
      </p:sp>
      <p:cxnSp>
        <p:nvCxnSpPr>
          <p:cNvPr id="52" name="Conector angulado 51"/>
          <p:cNvCxnSpPr>
            <a:stCxn id="34" idx="3"/>
          </p:cNvCxnSpPr>
          <p:nvPr/>
        </p:nvCxnSpPr>
        <p:spPr>
          <a:xfrm flipV="1">
            <a:off x="5645935" y="3086763"/>
            <a:ext cx="3827518" cy="1339821"/>
          </a:xfrm>
          <a:prstGeom prst="bentConnector3">
            <a:avLst>
              <a:gd name="adj1" fmla="val 50000"/>
            </a:avLst>
          </a:prstGeom>
          <a:ln w="25400">
            <a:solidFill>
              <a:srgbClr val="FF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tângulo 53"/>
          <p:cNvSpPr/>
          <p:nvPr/>
        </p:nvSpPr>
        <p:spPr>
          <a:xfrm>
            <a:off x="7365372" y="863541"/>
            <a:ext cx="2040859" cy="6787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 smtClean="0">
                <a:solidFill>
                  <a:prstClr val="black"/>
                </a:solidFill>
              </a:rPr>
              <a:t>Capacidades </a:t>
            </a:r>
            <a:r>
              <a:rPr lang="pt-BR" sz="1400" b="1" dirty="0" err="1" smtClean="0">
                <a:solidFill>
                  <a:prstClr val="black"/>
                </a:solidFill>
              </a:rPr>
              <a:t>socioemocionais</a:t>
            </a:r>
            <a:endParaRPr lang="pt-BR" sz="1400" b="1" dirty="0" smtClean="0">
              <a:solidFill>
                <a:prstClr val="black"/>
              </a:solidFill>
            </a:endParaRPr>
          </a:p>
          <a:p>
            <a:endParaRPr lang="pt-BR" sz="800" b="1" dirty="0" smtClean="0">
              <a:solidFill>
                <a:prstClr val="black"/>
              </a:solidFill>
            </a:endParaRPr>
          </a:p>
          <a:p>
            <a:r>
              <a:rPr lang="pt-BR" sz="1400" b="1" dirty="0" smtClean="0">
                <a:solidFill>
                  <a:prstClr val="black"/>
                </a:solidFill>
              </a:rPr>
              <a:t>Fundamentos técnicos e científicos</a:t>
            </a:r>
            <a:endParaRPr lang="pt-BR" sz="1400" b="1" dirty="0">
              <a:solidFill>
                <a:prstClr val="black"/>
              </a:solidFill>
            </a:endParaRPr>
          </a:p>
        </p:txBody>
      </p:sp>
      <p:sp>
        <p:nvSpPr>
          <p:cNvPr id="55" name="CaixaDeTexto 54"/>
          <p:cNvSpPr txBox="1"/>
          <p:nvPr/>
        </p:nvSpPr>
        <p:spPr>
          <a:xfrm>
            <a:off x="-275" y="1121032"/>
            <a:ext cx="2663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r>
              <a:rPr lang="pt-BR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° ano 		BNCC</a:t>
            </a:r>
            <a:endParaRPr lang="pt-BR" sz="16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56" name="Imagem 5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06231" y="6079561"/>
            <a:ext cx="1177250" cy="460633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914173" y="3996361"/>
            <a:ext cx="1184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/>
              <a:t>BNCC</a:t>
            </a:r>
            <a:endParaRPr lang="pt-BR" b="1" dirty="0"/>
          </a:p>
        </p:txBody>
      </p:sp>
      <p:sp>
        <p:nvSpPr>
          <p:cNvPr id="47" name="Retângulo 46"/>
          <p:cNvSpPr/>
          <p:nvPr/>
        </p:nvSpPr>
        <p:spPr>
          <a:xfrm>
            <a:off x="843341" y="-14749"/>
            <a:ext cx="10355142" cy="839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2857" b="1" kern="0" dirty="0" smtClean="0">
                <a:solidFill>
                  <a:srgbClr val="002960"/>
                </a:solidFill>
                <a:latin typeface="Calibri"/>
                <a:cs typeface="Arial" panose="020B0604020202020204" pitchFamily="34" charset="0"/>
              </a:rPr>
              <a:t>PROPOSTA DE METODOLOGIA  </a:t>
            </a:r>
          </a:p>
          <a:p>
            <a:pPr>
              <a:defRPr/>
            </a:pPr>
            <a:r>
              <a:rPr lang="pt-BR" sz="2000" b="1" kern="0" dirty="0" smtClean="0">
                <a:solidFill>
                  <a:srgbClr val="002960"/>
                </a:solidFill>
                <a:latin typeface="Calibri"/>
                <a:cs typeface="Arial" panose="020B0604020202020204" pitchFamily="34" charset="0"/>
              </a:rPr>
              <a:t>Itinerário 5 - Formação Técnica Profissional</a:t>
            </a:r>
            <a:endParaRPr lang="pt-BR" sz="2000" b="1" kern="0" dirty="0">
              <a:solidFill>
                <a:srgbClr val="002960"/>
              </a:solidFill>
              <a:latin typeface="Calibri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533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8" descr="Resultado de imagem para olimpiada do conhecimento 2016"/>
          <p:cNvSpPr>
            <a:spLocks noChangeAspect="1" noChangeArrowheads="1"/>
          </p:cNvSpPr>
          <p:nvPr/>
        </p:nvSpPr>
        <p:spPr bwMode="auto">
          <a:xfrm>
            <a:off x="155663" y="-144462"/>
            <a:ext cx="304796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916244" y="160339"/>
            <a:ext cx="10355142" cy="839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2857" b="1" kern="0" dirty="0" smtClean="0">
                <a:solidFill>
                  <a:srgbClr val="002960"/>
                </a:solidFill>
                <a:latin typeface="Calibri"/>
                <a:cs typeface="Arial" panose="020B0604020202020204" pitchFamily="34" charset="0"/>
              </a:rPr>
              <a:t>PROPOSTA DE METODOLOGIA </a:t>
            </a:r>
          </a:p>
          <a:p>
            <a:pPr>
              <a:defRPr/>
            </a:pPr>
            <a:r>
              <a:rPr lang="pt-BR" sz="2000" b="1" kern="0" dirty="0" smtClean="0">
                <a:solidFill>
                  <a:srgbClr val="002960"/>
                </a:solidFill>
                <a:latin typeface="Calibri"/>
                <a:cs typeface="Arial" panose="020B0604020202020204" pitchFamily="34" charset="0"/>
              </a:rPr>
              <a:t>Itinerário 5 - Formação Técnica Profissional</a:t>
            </a:r>
            <a:endParaRPr lang="pt-BR" sz="2000" b="1" kern="0" dirty="0">
              <a:solidFill>
                <a:srgbClr val="002960"/>
              </a:solidFill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1" t="540" r="399" b="677"/>
          <a:stretch/>
        </p:blipFill>
        <p:spPr>
          <a:xfrm>
            <a:off x="762000" y="1138533"/>
            <a:ext cx="7798175" cy="5201307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22945" y="6053210"/>
            <a:ext cx="1382785" cy="48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151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McK 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572" y="6612710"/>
            <a:ext cx="700215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pt-BR" sz="1020" dirty="0">
                <a:solidFill>
                  <a:schemeClr val="bg1"/>
                </a:solidFill>
                <a:latin typeface="Arial"/>
              </a:rPr>
              <a:t>Nota.: Previsão de Início em </a:t>
            </a:r>
            <a:r>
              <a:rPr lang="pt-BR" sz="1020" dirty="0" err="1">
                <a:solidFill>
                  <a:schemeClr val="bg1"/>
                </a:solidFill>
                <a:latin typeface="Arial"/>
              </a:rPr>
              <a:t>Fev</a:t>
            </a:r>
            <a:r>
              <a:rPr lang="pt-BR" sz="1020" dirty="0">
                <a:solidFill>
                  <a:schemeClr val="bg1"/>
                </a:solidFill>
                <a:latin typeface="Arial"/>
              </a:rPr>
              <a:t>/2018</a:t>
            </a:r>
          </a:p>
        </p:txBody>
      </p:sp>
      <p:sp>
        <p:nvSpPr>
          <p:cNvPr id="42" name="AutoShape 122"/>
          <p:cNvSpPr>
            <a:spLocks noChangeArrowheads="1"/>
          </p:cNvSpPr>
          <p:nvPr/>
        </p:nvSpPr>
        <p:spPr bwMode="auto">
          <a:xfrm>
            <a:off x="300018" y="1415863"/>
            <a:ext cx="5507018" cy="479444"/>
          </a:xfrm>
          <a:prstGeom prst="roundRect">
            <a:avLst>
              <a:gd name="adj" fmla="val 22991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1322324" tIns="93297" rIns="128559" bIns="932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z="1837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estão Integrada</a:t>
            </a:r>
          </a:p>
        </p:txBody>
      </p:sp>
      <p:sp>
        <p:nvSpPr>
          <p:cNvPr id="45" name="AutoShape 122"/>
          <p:cNvSpPr>
            <a:spLocks noChangeArrowheads="1"/>
          </p:cNvSpPr>
          <p:nvPr/>
        </p:nvSpPr>
        <p:spPr bwMode="auto">
          <a:xfrm>
            <a:off x="300018" y="2838845"/>
            <a:ext cx="5507018" cy="479444"/>
          </a:xfrm>
          <a:prstGeom prst="roundRect">
            <a:avLst>
              <a:gd name="adj" fmla="val 22991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1322324" tIns="93297" rIns="128559" bIns="932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z="1837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entralizado</a:t>
            </a:r>
          </a:p>
        </p:txBody>
      </p:sp>
      <p:sp>
        <p:nvSpPr>
          <p:cNvPr id="46" name="AutoShape 122"/>
          <p:cNvSpPr>
            <a:spLocks noChangeArrowheads="1"/>
          </p:cNvSpPr>
          <p:nvPr/>
        </p:nvSpPr>
        <p:spPr bwMode="auto">
          <a:xfrm>
            <a:off x="6418140" y="1397538"/>
            <a:ext cx="5507018" cy="479444"/>
          </a:xfrm>
          <a:prstGeom prst="roundRect">
            <a:avLst>
              <a:gd name="adj" fmla="val 22991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1322324" tIns="93297" rIns="128559" bIns="932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z="1837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estão Compartilhada</a:t>
            </a:r>
          </a:p>
        </p:txBody>
      </p:sp>
      <p:sp>
        <p:nvSpPr>
          <p:cNvPr id="47" name="AutoShape 122"/>
          <p:cNvSpPr>
            <a:spLocks noChangeArrowheads="1"/>
          </p:cNvSpPr>
          <p:nvPr/>
        </p:nvSpPr>
        <p:spPr bwMode="auto">
          <a:xfrm>
            <a:off x="6418140" y="2838845"/>
            <a:ext cx="5507018" cy="479444"/>
          </a:xfrm>
          <a:prstGeom prst="roundRect">
            <a:avLst>
              <a:gd name="adj" fmla="val 22991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1322324" tIns="93297" rIns="128559" bIns="932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z="1837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Mediado por Tecnologia</a:t>
            </a:r>
          </a:p>
        </p:txBody>
      </p:sp>
      <p:sp>
        <p:nvSpPr>
          <p:cNvPr id="48" name="AutoShape 122"/>
          <p:cNvSpPr>
            <a:spLocks noChangeArrowheads="1"/>
          </p:cNvSpPr>
          <p:nvPr/>
        </p:nvSpPr>
        <p:spPr bwMode="auto">
          <a:xfrm>
            <a:off x="2092421" y="1988367"/>
            <a:ext cx="1861741" cy="584530"/>
          </a:xfrm>
          <a:prstGeom prst="roundRect">
            <a:avLst>
              <a:gd name="adj" fmla="val 22991"/>
            </a:avLst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1800000" scaled="0"/>
          </a:gra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 - SENAI</a:t>
            </a:r>
          </a:p>
        </p:txBody>
      </p:sp>
      <p:sp>
        <p:nvSpPr>
          <p:cNvPr id="50" name="AutoShape 122"/>
          <p:cNvSpPr>
            <a:spLocks noChangeArrowheads="1"/>
          </p:cNvSpPr>
          <p:nvPr/>
        </p:nvSpPr>
        <p:spPr bwMode="auto">
          <a:xfrm>
            <a:off x="2593463" y="4182581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NAI</a:t>
            </a:r>
          </a:p>
        </p:txBody>
      </p:sp>
      <p:sp>
        <p:nvSpPr>
          <p:cNvPr id="51" name="AutoShape 122"/>
          <p:cNvSpPr>
            <a:spLocks noChangeArrowheads="1"/>
          </p:cNvSpPr>
          <p:nvPr/>
        </p:nvSpPr>
        <p:spPr bwMode="auto">
          <a:xfrm>
            <a:off x="4424854" y="3612431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</a:t>
            </a:r>
          </a:p>
        </p:txBody>
      </p:sp>
      <p:sp>
        <p:nvSpPr>
          <p:cNvPr id="52" name="AutoShape 122"/>
          <p:cNvSpPr>
            <a:spLocks noChangeArrowheads="1"/>
          </p:cNvSpPr>
          <p:nvPr/>
        </p:nvSpPr>
        <p:spPr bwMode="auto">
          <a:xfrm>
            <a:off x="4424854" y="4752731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</a:t>
            </a:r>
          </a:p>
        </p:txBody>
      </p:sp>
      <p:sp>
        <p:nvSpPr>
          <p:cNvPr id="53" name="AutoShape 122"/>
          <p:cNvSpPr>
            <a:spLocks noChangeArrowheads="1"/>
          </p:cNvSpPr>
          <p:nvPr/>
        </p:nvSpPr>
        <p:spPr bwMode="auto">
          <a:xfrm>
            <a:off x="762071" y="3612431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</a:t>
            </a:r>
          </a:p>
        </p:txBody>
      </p:sp>
      <p:sp>
        <p:nvSpPr>
          <p:cNvPr id="54" name="AutoShape 122"/>
          <p:cNvSpPr>
            <a:spLocks noChangeArrowheads="1"/>
          </p:cNvSpPr>
          <p:nvPr/>
        </p:nvSpPr>
        <p:spPr bwMode="auto">
          <a:xfrm>
            <a:off x="762071" y="4752731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</a:t>
            </a:r>
          </a:p>
        </p:txBody>
      </p:sp>
      <p:cxnSp>
        <p:nvCxnSpPr>
          <p:cNvPr id="6" name="Elbow Connector 5"/>
          <p:cNvCxnSpPr>
            <a:stCxn id="50" idx="3"/>
            <a:endCxn id="51" idx="1"/>
          </p:cNvCxnSpPr>
          <p:nvPr/>
        </p:nvCxnSpPr>
        <p:spPr>
          <a:xfrm flipV="1">
            <a:off x="3660449" y="3904696"/>
            <a:ext cx="764406" cy="570150"/>
          </a:xfrm>
          <a:prstGeom prst="bentConnector3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/>
          <p:cNvCxnSpPr>
            <a:stCxn id="50" idx="3"/>
            <a:endCxn id="52" idx="1"/>
          </p:cNvCxnSpPr>
          <p:nvPr/>
        </p:nvCxnSpPr>
        <p:spPr>
          <a:xfrm>
            <a:off x="3660449" y="4474846"/>
            <a:ext cx="764406" cy="570150"/>
          </a:xfrm>
          <a:prstGeom prst="bentConnector3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/>
          <p:cNvCxnSpPr>
            <a:stCxn id="50" idx="1"/>
            <a:endCxn id="53" idx="3"/>
          </p:cNvCxnSpPr>
          <p:nvPr/>
        </p:nvCxnSpPr>
        <p:spPr>
          <a:xfrm rot="10800000">
            <a:off x="1829056" y="3904696"/>
            <a:ext cx="764407" cy="57015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/>
          <p:cNvCxnSpPr>
            <a:stCxn id="54" idx="3"/>
            <a:endCxn id="50" idx="1"/>
          </p:cNvCxnSpPr>
          <p:nvPr/>
        </p:nvCxnSpPr>
        <p:spPr>
          <a:xfrm flipV="1">
            <a:off x="1829056" y="4474846"/>
            <a:ext cx="764407" cy="570150"/>
          </a:xfrm>
          <a:prstGeom prst="bentConnector3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utoShape 122"/>
          <p:cNvSpPr>
            <a:spLocks noChangeArrowheads="1"/>
          </p:cNvSpPr>
          <p:nvPr/>
        </p:nvSpPr>
        <p:spPr bwMode="auto">
          <a:xfrm>
            <a:off x="9405648" y="1988367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NAI</a:t>
            </a:r>
          </a:p>
        </p:txBody>
      </p:sp>
      <p:sp>
        <p:nvSpPr>
          <p:cNvPr id="63" name="AutoShape 122"/>
          <p:cNvSpPr>
            <a:spLocks noChangeArrowheads="1"/>
          </p:cNvSpPr>
          <p:nvPr/>
        </p:nvSpPr>
        <p:spPr bwMode="auto">
          <a:xfrm>
            <a:off x="7712475" y="1988367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</a:t>
            </a:r>
          </a:p>
        </p:txBody>
      </p:sp>
      <p:cxnSp>
        <p:nvCxnSpPr>
          <p:cNvPr id="64" name="Elbow Connector 63"/>
          <p:cNvCxnSpPr>
            <a:stCxn id="63" idx="3"/>
            <a:endCxn id="62" idx="1"/>
          </p:cNvCxnSpPr>
          <p:nvPr/>
        </p:nvCxnSpPr>
        <p:spPr>
          <a:xfrm>
            <a:off x="8779460" y="2280632"/>
            <a:ext cx="626188" cy="0"/>
          </a:xfrm>
          <a:prstGeom prst="straightConnector1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AutoShape 122"/>
          <p:cNvSpPr>
            <a:spLocks noChangeArrowheads="1"/>
          </p:cNvSpPr>
          <p:nvPr/>
        </p:nvSpPr>
        <p:spPr bwMode="auto">
          <a:xfrm>
            <a:off x="8259639" y="4241432"/>
            <a:ext cx="1861741" cy="584530"/>
          </a:xfrm>
          <a:prstGeom prst="roundRect">
            <a:avLst>
              <a:gd name="adj" fmla="val 22991"/>
            </a:avLst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1800000" scaled="0"/>
          </a:gra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 - SENAI</a:t>
            </a:r>
          </a:p>
        </p:txBody>
      </p:sp>
      <p:sp>
        <p:nvSpPr>
          <p:cNvPr id="69" name="AutoShape 122"/>
          <p:cNvSpPr>
            <a:spLocks noChangeArrowheads="1"/>
          </p:cNvSpPr>
          <p:nvPr/>
        </p:nvSpPr>
        <p:spPr bwMode="auto">
          <a:xfrm>
            <a:off x="6810198" y="3429940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</a:t>
            </a:r>
          </a:p>
        </p:txBody>
      </p:sp>
      <p:sp>
        <p:nvSpPr>
          <p:cNvPr id="71" name="AutoShape 122"/>
          <p:cNvSpPr>
            <a:spLocks noChangeArrowheads="1"/>
          </p:cNvSpPr>
          <p:nvPr/>
        </p:nvSpPr>
        <p:spPr bwMode="auto">
          <a:xfrm>
            <a:off x="6810198" y="4241432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NAI</a:t>
            </a:r>
          </a:p>
        </p:txBody>
      </p:sp>
      <p:sp>
        <p:nvSpPr>
          <p:cNvPr id="72" name="AutoShape 122"/>
          <p:cNvSpPr>
            <a:spLocks noChangeArrowheads="1"/>
          </p:cNvSpPr>
          <p:nvPr/>
        </p:nvSpPr>
        <p:spPr bwMode="auto">
          <a:xfrm>
            <a:off x="6810198" y="5060483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</a:t>
            </a:r>
          </a:p>
        </p:txBody>
      </p:sp>
      <p:sp>
        <p:nvSpPr>
          <p:cNvPr id="73" name="AutoShape 122"/>
          <p:cNvSpPr>
            <a:spLocks noChangeArrowheads="1"/>
          </p:cNvSpPr>
          <p:nvPr/>
        </p:nvSpPr>
        <p:spPr bwMode="auto">
          <a:xfrm>
            <a:off x="8657016" y="5052924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NAI</a:t>
            </a:r>
          </a:p>
        </p:txBody>
      </p:sp>
      <p:sp>
        <p:nvSpPr>
          <p:cNvPr id="74" name="AutoShape 122"/>
          <p:cNvSpPr>
            <a:spLocks noChangeArrowheads="1"/>
          </p:cNvSpPr>
          <p:nvPr/>
        </p:nvSpPr>
        <p:spPr bwMode="auto">
          <a:xfrm>
            <a:off x="8657016" y="3429940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NAI</a:t>
            </a:r>
          </a:p>
        </p:txBody>
      </p:sp>
      <p:sp>
        <p:nvSpPr>
          <p:cNvPr id="75" name="AutoShape 122"/>
          <p:cNvSpPr>
            <a:spLocks noChangeArrowheads="1"/>
          </p:cNvSpPr>
          <p:nvPr/>
        </p:nvSpPr>
        <p:spPr bwMode="auto">
          <a:xfrm>
            <a:off x="10503835" y="3429940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 err="1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  <a:endParaRPr lang="en-US" sz="1224" b="1" dirty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  <a:p>
            <a:pPr lvl="0" algn="ctr"/>
            <a:r>
              <a:rPr lang="en-US" sz="1837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</a:t>
            </a:r>
            <a:endParaRPr lang="en-US" sz="1837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AutoShape 122"/>
          <p:cNvSpPr>
            <a:spLocks noChangeArrowheads="1"/>
          </p:cNvSpPr>
          <p:nvPr/>
        </p:nvSpPr>
        <p:spPr bwMode="auto">
          <a:xfrm>
            <a:off x="10503835" y="4245211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</a:p>
          <a:p>
            <a:pPr lvl="0" algn="ctr"/>
            <a:r>
              <a:rPr lang="en-US" sz="1837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NAI</a:t>
            </a:r>
          </a:p>
        </p:txBody>
      </p:sp>
      <p:sp>
        <p:nvSpPr>
          <p:cNvPr id="77" name="AutoShape 122"/>
          <p:cNvSpPr>
            <a:spLocks noChangeArrowheads="1"/>
          </p:cNvSpPr>
          <p:nvPr/>
        </p:nvSpPr>
        <p:spPr bwMode="auto">
          <a:xfrm>
            <a:off x="10503835" y="5060483"/>
            <a:ext cx="1066985" cy="584530"/>
          </a:xfrm>
          <a:prstGeom prst="roundRect">
            <a:avLst>
              <a:gd name="adj" fmla="val 22991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224" b="1" dirty="0" err="1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scola</a:t>
            </a:r>
            <a:endParaRPr lang="en-US" sz="1224" b="1" dirty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  <a:p>
            <a:pPr lvl="0" algn="ctr"/>
            <a:r>
              <a:rPr lang="en-US" sz="1837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SI</a:t>
            </a:r>
            <a:endParaRPr lang="en-US" sz="1837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8" name="Elbow Connector 77"/>
          <p:cNvCxnSpPr>
            <a:stCxn id="67" idx="1"/>
            <a:endCxn id="69" idx="3"/>
          </p:cNvCxnSpPr>
          <p:nvPr/>
        </p:nvCxnSpPr>
        <p:spPr>
          <a:xfrm rot="10800000">
            <a:off x="7877185" y="3722206"/>
            <a:ext cx="382455" cy="81149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Elbow Connector 80"/>
          <p:cNvCxnSpPr>
            <a:stCxn id="67" idx="1"/>
            <a:endCxn id="72" idx="3"/>
          </p:cNvCxnSpPr>
          <p:nvPr/>
        </p:nvCxnSpPr>
        <p:spPr>
          <a:xfrm rot="10800000" flipV="1">
            <a:off x="7877185" y="4533697"/>
            <a:ext cx="382455" cy="81905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63"/>
          <p:cNvCxnSpPr>
            <a:stCxn id="71" idx="3"/>
            <a:endCxn id="67" idx="1"/>
          </p:cNvCxnSpPr>
          <p:nvPr/>
        </p:nvCxnSpPr>
        <p:spPr>
          <a:xfrm>
            <a:off x="7877184" y="4533697"/>
            <a:ext cx="382455" cy="0"/>
          </a:xfrm>
          <a:prstGeom prst="straightConnector1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63"/>
          <p:cNvCxnSpPr>
            <a:stCxn id="67" idx="0"/>
            <a:endCxn id="74" idx="2"/>
          </p:cNvCxnSpPr>
          <p:nvPr/>
        </p:nvCxnSpPr>
        <p:spPr>
          <a:xfrm flipH="1" flipV="1">
            <a:off x="9190509" y="4014471"/>
            <a:ext cx="1" cy="226961"/>
          </a:xfrm>
          <a:prstGeom prst="straightConnector1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Elbow Connector 63"/>
          <p:cNvCxnSpPr>
            <a:stCxn id="73" idx="0"/>
            <a:endCxn id="67" idx="2"/>
          </p:cNvCxnSpPr>
          <p:nvPr/>
        </p:nvCxnSpPr>
        <p:spPr>
          <a:xfrm flipV="1">
            <a:off x="9190509" y="4825962"/>
            <a:ext cx="1" cy="226962"/>
          </a:xfrm>
          <a:prstGeom prst="straightConnector1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Elbow Connector 63"/>
          <p:cNvCxnSpPr>
            <a:stCxn id="76" idx="1"/>
            <a:endCxn id="67" idx="3"/>
          </p:cNvCxnSpPr>
          <p:nvPr/>
        </p:nvCxnSpPr>
        <p:spPr>
          <a:xfrm flipH="1" flipV="1">
            <a:off x="10121379" y="4533697"/>
            <a:ext cx="382456" cy="3779"/>
          </a:xfrm>
          <a:prstGeom prst="straightConnector1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98"/>
          <p:cNvCxnSpPr>
            <a:stCxn id="67" idx="3"/>
            <a:endCxn id="75" idx="1"/>
          </p:cNvCxnSpPr>
          <p:nvPr/>
        </p:nvCxnSpPr>
        <p:spPr>
          <a:xfrm flipV="1">
            <a:off x="10121379" y="3722205"/>
            <a:ext cx="382456" cy="81149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>
            <a:stCxn id="67" idx="3"/>
            <a:endCxn id="77" idx="1"/>
          </p:cNvCxnSpPr>
          <p:nvPr/>
        </p:nvCxnSpPr>
        <p:spPr>
          <a:xfrm>
            <a:off x="10121379" y="4533697"/>
            <a:ext cx="382456" cy="81905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504125" y="1397289"/>
            <a:ext cx="1179605" cy="408856"/>
            <a:chOff x="6283800" y="1442477"/>
            <a:chExt cx="1156122" cy="400717"/>
          </a:xfrm>
        </p:grpSpPr>
        <p:grpSp>
          <p:nvGrpSpPr>
            <p:cNvPr id="59" name="Group 58"/>
            <p:cNvGrpSpPr/>
            <p:nvPr/>
          </p:nvGrpSpPr>
          <p:grpSpPr>
            <a:xfrm rot="16200000">
              <a:off x="6747386" y="1150659"/>
              <a:ext cx="400717" cy="984354"/>
              <a:chOff x="8131560" y="233121"/>
              <a:chExt cx="529838" cy="1301537"/>
            </a:xfrm>
          </p:grpSpPr>
          <p:sp>
            <p:nvSpPr>
              <p:cNvPr id="60" name="Round Same Side Corner Rectangle 59"/>
              <p:cNvSpPr/>
              <p:nvPr>
                <p:custDataLst>
                  <p:tags r:id="rId10"/>
                </p:custDataLst>
              </p:nvPr>
            </p:nvSpPr>
            <p:spPr>
              <a:xfrm rot="10800000">
                <a:off x="8131560" y="233121"/>
                <a:ext cx="529838" cy="13015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rgbClr val="F2F2F2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837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Oval 60"/>
              <p:cNvSpPr/>
              <p:nvPr>
                <p:custDataLst>
                  <p:tags r:id="rId11"/>
                </p:custDataLst>
              </p:nvPr>
            </p:nvSpPr>
            <p:spPr>
              <a:xfrm>
                <a:off x="8159772" y="1028701"/>
                <a:ext cx="473416" cy="473416"/>
              </a:xfrm>
              <a:prstGeom prst="ellipse">
                <a:avLst/>
              </a:prstGeom>
              <a:solidFill>
                <a:srgbClr val="EAEAEA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10194" tIns="47751" rIns="110194" bIns="47751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526">
                  <a:buClr>
                    <a:schemeClr val="tx2"/>
                  </a:buClr>
                </a:pPr>
                <a:endParaRPr lang="es-CO" sz="1837" dirty="0" err="1"/>
              </a:p>
            </p:txBody>
          </p:sp>
        </p:grpSp>
        <p:sp>
          <p:nvSpPr>
            <p:cNvPr id="66" name="Oval 65"/>
            <p:cNvSpPr>
              <a:spLocks/>
            </p:cNvSpPr>
            <p:nvPr/>
          </p:nvSpPr>
          <p:spPr>
            <a:xfrm>
              <a:off x="7086843" y="1488095"/>
              <a:ext cx="306937" cy="309747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O" sz="1837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58" name="Title 3"/>
            <p:cNvSpPr txBox="1">
              <a:spLocks/>
            </p:cNvSpPr>
            <p:nvPr/>
          </p:nvSpPr>
          <p:spPr bwMode="auto">
            <a:xfrm>
              <a:off x="6283800" y="1516805"/>
              <a:ext cx="804988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57188" algn="l"/>
                </a:tabLs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es-CO" sz="1632" kern="0" dirty="0">
                  <a:solidFill>
                    <a:schemeClr val="accent6"/>
                  </a:solidFill>
                </a:rPr>
                <a:t>Modelo</a:t>
              </a: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49519" y="1450625"/>
            <a:ext cx="1179605" cy="408856"/>
            <a:chOff x="6283800" y="1442477"/>
            <a:chExt cx="1156122" cy="400717"/>
          </a:xfrm>
        </p:grpSpPr>
        <p:grpSp>
          <p:nvGrpSpPr>
            <p:cNvPr id="70" name="Group 69"/>
            <p:cNvGrpSpPr/>
            <p:nvPr/>
          </p:nvGrpSpPr>
          <p:grpSpPr>
            <a:xfrm rot="16200000">
              <a:off x="6747386" y="1150659"/>
              <a:ext cx="400717" cy="984354"/>
              <a:chOff x="8131560" y="233121"/>
              <a:chExt cx="529838" cy="1301537"/>
            </a:xfrm>
          </p:grpSpPr>
          <p:sp>
            <p:nvSpPr>
              <p:cNvPr id="82" name="Round Same Side Corner Rectangle 81"/>
              <p:cNvSpPr/>
              <p:nvPr>
                <p:custDataLst>
                  <p:tags r:id="rId8"/>
                </p:custDataLst>
              </p:nvPr>
            </p:nvSpPr>
            <p:spPr>
              <a:xfrm rot="10800000">
                <a:off x="8131560" y="233121"/>
                <a:ext cx="529838" cy="13015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rgbClr val="F2F2F2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837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Oval 82"/>
              <p:cNvSpPr/>
              <p:nvPr>
                <p:custDataLst>
                  <p:tags r:id="rId9"/>
                </p:custDataLst>
              </p:nvPr>
            </p:nvSpPr>
            <p:spPr>
              <a:xfrm>
                <a:off x="8159772" y="1028701"/>
                <a:ext cx="473416" cy="473416"/>
              </a:xfrm>
              <a:prstGeom prst="ellipse">
                <a:avLst/>
              </a:prstGeom>
              <a:solidFill>
                <a:srgbClr val="EAEAEA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10194" tIns="47751" rIns="110194" bIns="47751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526">
                  <a:buClr>
                    <a:schemeClr val="tx2"/>
                  </a:buClr>
                </a:pPr>
                <a:endParaRPr lang="es-CO" sz="1837" dirty="0" err="1"/>
              </a:p>
            </p:txBody>
          </p:sp>
        </p:grpSp>
        <p:sp>
          <p:nvSpPr>
            <p:cNvPr id="79" name="Oval 78"/>
            <p:cNvSpPr>
              <a:spLocks/>
            </p:cNvSpPr>
            <p:nvPr/>
          </p:nvSpPr>
          <p:spPr>
            <a:xfrm>
              <a:off x="7086843" y="1488095"/>
              <a:ext cx="306937" cy="309747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O" sz="1837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80" name="Title 3"/>
            <p:cNvSpPr txBox="1">
              <a:spLocks/>
            </p:cNvSpPr>
            <p:nvPr/>
          </p:nvSpPr>
          <p:spPr bwMode="auto">
            <a:xfrm>
              <a:off x="6283800" y="1516805"/>
              <a:ext cx="804988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57188" algn="l"/>
                </a:tabLs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es-CO" sz="1632" kern="0" dirty="0">
                  <a:solidFill>
                    <a:schemeClr val="accent6"/>
                  </a:solidFill>
                </a:rPr>
                <a:t>Modelo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6504125" y="2870899"/>
            <a:ext cx="1179605" cy="408856"/>
            <a:chOff x="6283800" y="1442477"/>
            <a:chExt cx="1156122" cy="400717"/>
          </a:xfrm>
        </p:grpSpPr>
        <p:grpSp>
          <p:nvGrpSpPr>
            <p:cNvPr id="86" name="Group 85"/>
            <p:cNvGrpSpPr/>
            <p:nvPr/>
          </p:nvGrpSpPr>
          <p:grpSpPr>
            <a:xfrm rot="16200000">
              <a:off x="6747386" y="1150659"/>
              <a:ext cx="400717" cy="984354"/>
              <a:chOff x="8131560" y="233121"/>
              <a:chExt cx="529838" cy="1301537"/>
            </a:xfrm>
          </p:grpSpPr>
          <p:sp>
            <p:nvSpPr>
              <p:cNvPr id="89" name="Round Same Side Corner Rectangle 88"/>
              <p:cNvSpPr/>
              <p:nvPr>
                <p:custDataLst>
                  <p:tags r:id="rId6"/>
                </p:custDataLst>
              </p:nvPr>
            </p:nvSpPr>
            <p:spPr>
              <a:xfrm rot="10800000">
                <a:off x="8131560" y="233121"/>
                <a:ext cx="529838" cy="13015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rgbClr val="F2F2F2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837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Oval 90"/>
              <p:cNvSpPr/>
              <p:nvPr>
                <p:custDataLst>
                  <p:tags r:id="rId7"/>
                </p:custDataLst>
              </p:nvPr>
            </p:nvSpPr>
            <p:spPr>
              <a:xfrm>
                <a:off x="8159772" y="1028701"/>
                <a:ext cx="473416" cy="473416"/>
              </a:xfrm>
              <a:prstGeom prst="ellipse">
                <a:avLst/>
              </a:prstGeom>
              <a:solidFill>
                <a:srgbClr val="EAEAEA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10194" tIns="47751" rIns="110194" bIns="47751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526">
                  <a:buClr>
                    <a:schemeClr val="tx2"/>
                  </a:buClr>
                </a:pPr>
                <a:endParaRPr lang="es-CO" sz="1837" dirty="0" err="1"/>
              </a:p>
            </p:txBody>
          </p:sp>
        </p:grpSp>
        <p:sp>
          <p:nvSpPr>
            <p:cNvPr id="87" name="Oval 86"/>
            <p:cNvSpPr>
              <a:spLocks/>
            </p:cNvSpPr>
            <p:nvPr/>
          </p:nvSpPr>
          <p:spPr>
            <a:xfrm>
              <a:off x="7086843" y="1488095"/>
              <a:ext cx="306937" cy="309747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O" sz="1837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88" name="Title 3"/>
            <p:cNvSpPr txBox="1">
              <a:spLocks/>
            </p:cNvSpPr>
            <p:nvPr/>
          </p:nvSpPr>
          <p:spPr bwMode="auto">
            <a:xfrm>
              <a:off x="6283800" y="1516805"/>
              <a:ext cx="804988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57188" algn="l"/>
                </a:tabLs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es-CO" sz="1632" kern="0" dirty="0">
                  <a:solidFill>
                    <a:schemeClr val="accent6"/>
                  </a:solidFill>
                </a:rPr>
                <a:t>Modelo</a:t>
              </a:r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449519" y="2870899"/>
            <a:ext cx="1179605" cy="408856"/>
            <a:chOff x="6283800" y="1442477"/>
            <a:chExt cx="1156122" cy="400717"/>
          </a:xfrm>
        </p:grpSpPr>
        <p:grpSp>
          <p:nvGrpSpPr>
            <p:cNvPr id="94" name="Group 93"/>
            <p:cNvGrpSpPr/>
            <p:nvPr/>
          </p:nvGrpSpPr>
          <p:grpSpPr>
            <a:xfrm rot="16200000">
              <a:off x="6747386" y="1150659"/>
              <a:ext cx="400717" cy="984354"/>
              <a:chOff x="8131560" y="233121"/>
              <a:chExt cx="529838" cy="1301537"/>
            </a:xfrm>
          </p:grpSpPr>
          <p:sp>
            <p:nvSpPr>
              <p:cNvPr id="98" name="Round Same Side Corner Rectangle 97"/>
              <p:cNvSpPr/>
              <p:nvPr>
                <p:custDataLst>
                  <p:tags r:id="rId4"/>
                </p:custDataLst>
              </p:nvPr>
            </p:nvSpPr>
            <p:spPr>
              <a:xfrm rot="10800000">
                <a:off x="8131560" y="233121"/>
                <a:ext cx="529838" cy="13015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rgbClr val="F2F2F2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837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Oval 99"/>
              <p:cNvSpPr/>
              <p:nvPr>
                <p:custDataLst>
                  <p:tags r:id="rId5"/>
                </p:custDataLst>
              </p:nvPr>
            </p:nvSpPr>
            <p:spPr>
              <a:xfrm>
                <a:off x="8159772" y="1028701"/>
                <a:ext cx="473416" cy="473416"/>
              </a:xfrm>
              <a:prstGeom prst="ellipse">
                <a:avLst/>
              </a:prstGeom>
              <a:solidFill>
                <a:srgbClr val="EAEAEA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10194" tIns="47751" rIns="110194" bIns="47751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526">
                  <a:buClr>
                    <a:schemeClr val="tx2"/>
                  </a:buClr>
                </a:pPr>
                <a:endParaRPr lang="es-CO" sz="1837" dirty="0" err="1"/>
              </a:p>
            </p:txBody>
          </p:sp>
        </p:grpSp>
        <p:sp>
          <p:nvSpPr>
            <p:cNvPr id="95" name="Oval 94"/>
            <p:cNvSpPr>
              <a:spLocks/>
            </p:cNvSpPr>
            <p:nvPr/>
          </p:nvSpPr>
          <p:spPr>
            <a:xfrm>
              <a:off x="7086843" y="1488095"/>
              <a:ext cx="306937" cy="309747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O" sz="1837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97" name="Title 3"/>
            <p:cNvSpPr txBox="1">
              <a:spLocks/>
            </p:cNvSpPr>
            <p:nvPr/>
          </p:nvSpPr>
          <p:spPr bwMode="auto">
            <a:xfrm>
              <a:off x="6283800" y="1516805"/>
              <a:ext cx="804988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57188" algn="l"/>
                </a:tabLs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es-CO" sz="1632" kern="0" dirty="0">
                  <a:solidFill>
                    <a:schemeClr val="accent6"/>
                  </a:solidFill>
                </a:rPr>
                <a:t>Modelo</a:t>
              </a:r>
            </a:p>
          </p:txBody>
        </p:sp>
      </p:grp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928021" y="242088"/>
            <a:ext cx="10980238" cy="430887"/>
          </a:xfrm>
        </p:spPr>
        <p:txBody>
          <a:bodyPr/>
          <a:lstStyle/>
          <a:p>
            <a:r>
              <a:rPr lang="pt-BR" sz="2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MODELOS DE OPERAÇÃO DO PROJETO</a:t>
            </a:r>
            <a:endParaRPr lang="pt-BR" sz="2800" dirty="0">
              <a:latin typeface="Calibri" panose="020F0502020204030204" pitchFamily="34" charset="0"/>
            </a:endParaRPr>
          </a:p>
        </p:txBody>
      </p:sp>
      <p:pic>
        <p:nvPicPr>
          <p:cNvPr id="65" name="Imagem 6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222945" y="6053210"/>
            <a:ext cx="1382785" cy="48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253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tângulo 28"/>
          <p:cNvSpPr/>
          <p:nvPr/>
        </p:nvSpPr>
        <p:spPr>
          <a:xfrm>
            <a:off x="0" y="0"/>
            <a:ext cx="12192000" cy="574963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pt-BR" kern="0">
              <a:solidFill>
                <a:prstClr val="white"/>
              </a:solidFill>
            </a:endParaRPr>
          </a:p>
        </p:txBody>
      </p:sp>
      <p:sp>
        <p:nvSpPr>
          <p:cNvPr id="30" name="CaixaDeTexto 23"/>
          <p:cNvSpPr txBox="1">
            <a:spLocks noChangeArrowheads="1"/>
          </p:cNvSpPr>
          <p:nvPr/>
        </p:nvSpPr>
        <p:spPr bwMode="auto">
          <a:xfrm>
            <a:off x="4213185" y="3779362"/>
            <a:ext cx="731168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pt-BR" sz="3600" dirty="0" smtClean="0">
                <a:solidFill>
                  <a:schemeClr val="accent4"/>
                </a:solidFill>
                <a:latin typeface="Calibri"/>
              </a:rPr>
              <a:t>Oportunidade de Inserção do Jovem no Mercado de Trabalho</a:t>
            </a:r>
            <a:endParaRPr lang="pt-BR" sz="3600" dirty="0">
              <a:solidFill>
                <a:schemeClr val="accent4"/>
              </a:solidFill>
              <a:latin typeface="Calibri"/>
            </a:endParaRPr>
          </a:p>
        </p:txBody>
      </p:sp>
      <p:cxnSp>
        <p:nvCxnSpPr>
          <p:cNvPr id="6" name="Conector reto 11"/>
          <p:cNvCxnSpPr>
            <a:cxnSpLocks noChangeShapeType="1"/>
          </p:cNvCxnSpPr>
          <p:nvPr/>
        </p:nvCxnSpPr>
        <p:spPr bwMode="auto">
          <a:xfrm>
            <a:off x="725906" y="3583216"/>
            <a:ext cx="10513112" cy="51235"/>
          </a:xfrm>
          <a:prstGeom prst="line">
            <a:avLst/>
          </a:prstGeom>
          <a:noFill/>
          <a:ln w="19050" algn="ctr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786" y="255275"/>
            <a:ext cx="4087399" cy="5645385"/>
          </a:xfrm>
          <a:prstGeom prst="rect">
            <a:avLst/>
          </a:prstGeom>
        </p:spPr>
      </p:pic>
      <p:sp>
        <p:nvSpPr>
          <p:cNvPr id="7" name="CaixaDeTexto 23"/>
          <p:cNvSpPr txBox="1">
            <a:spLocks noChangeArrowheads="1"/>
          </p:cNvSpPr>
          <p:nvPr/>
        </p:nvSpPr>
        <p:spPr bwMode="auto">
          <a:xfrm>
            <a:off x="4213185" y="2213106"/>
            <a:ext cx="731168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pt-BR" sz="3600" dirty="0" smtClean="0">
                <a:solidFill>
                  <a:prstClr val="white"/>
                </a:solidFill>
                <a:latin typeface="Calibri"/>
              </a:rPr>
              <a:t>A APRENDIZAGEM PROFISSIONAL NA NOVA LEI DO ENSINO MÉDIO</a:t>
            </a:r>
            <a:endParaRPr lang="pt-BR" sz="36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7850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Conector reto 19"/>
          <p:cNvCxnSpPr/>
          <p:nvPr/>
        </p:nvCxnSpPr>
        <p:spPr>
          <a:xfrm>
            <a:off x="9172237" y="4881295"/>
            <a:ext cx="2317750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21"/>
          <p:cNvCxnSpPr/>
          <p:nvPr/>
        </p:nvCxnSpPr>
        <p:spPr>
          <a:xfrm>
            <a:off x="9172237" y="5478195"/>
            <a:ext cx="2317750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ângulo 33"/>
          <p:cNvSpPr/>
          <p:nvPr/>
        </p:nvSpPr>
        <p:spPr>
          <a:xfrm>
            <a:off x="809615" y="205880"/>
            <a:ext cx="9926115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defRPr/>
            </a:pPr>
            <a:r>
              <a:rPr lang="pt-BR" sz="3200" b="1" dirty="0" smtClean="0">
                <a:solidFill>
                  <a:srgbClr val="002960"/>
                </a:solidFill>
                <a:latin typeface="Century Gothic" pitchFamily="34" charset="0"/>
                <a:ea typeface="ＭＳ Ｐゴシック" charset="-128"/>
              </a:rPr>
              <a:t>PRECISAMOS NOS IGUALAR AOS DEMAIS PAÍSES...</a:t>
            </a:r>
            <a:endParaRPr lang="pt-BR" sz="3200" b="1" dirty="0">
              <a:solidFill>
                <a:srgbClr val="002960"/>
              </a:solidFill>
              <a:latin typeface="Century Gothic" pitchFamily="34" charset="0"/>
              <a:ea typeface="ＭＳ Ｐゴシック" charset="-128"/>
            </a:endParaRPr>
          </a:p>
        </p:txBody>
      </p:sp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11587" y="1039946"/>
            <a:ext cx="3449822" cy="5373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Retângulo 38"/>
          <p:cNvSpPr/>
          <p:nvPr/>
        </p:nvSpPr>
        <p:spPr>
          <a:xfrm>
            <a:off x="-468560" y="2929868"/>
            <a:ext cx="3312368" cy="1323439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  <a:sp3d/>
        </p:spPr>
        <p:txBody>
          <a:bodyPr wrap="square">
            <a:spAutoFit/>
            <a:flatTx/>
          </a:bodyPr>
          <a:lstStyle/>
          <a:p>
            <a:pPr marL="0" lvl="3" algn="r" fontAlgn="base">
              <a:spcBef>
                <a:spcPts val="1200"/>
              </a:spcBef>
              <a:spcAft>
                <a:spcPct val="0"/>
              </a:spcAft>
              <a:buClr>
                <a:srgbClr val="A5C0ED"/>
              </a:buClr>
            </a:pPr>
            <a:r>
              <a:rPr lang="pt-BR" sz="2000" b="1" dirty="0" smtClean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  <a:t>dos estudantes do </a:t>
            </a:r>
            <a:br>
              <a:rPr lang="pt-BR" sz="2000" b="1" dirty="0" smtClean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</a:br>
            <a:r>
              <a:rPr lang="pt-BR" sz="2000" b="1" dirty="0" smtClean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  <a:t>ensino médio, </a:t>
            </a:r>
            <a:br>
              <a:rPr lang="pt-BR" sz="2000" b="1" dirty="0" smtClean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</a:br>
            <a:r>
              <a:rPr lang="pt-BR" sz="2000" b="1" dirty="0" smtClean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  <a:t>na União Europeia, </a:t>
            </a:r>
            <a:br>
              <a:rPr lang="pt-BR" sz="2000" b="1" dirty="0" smtClean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</a:br>
            <a:r>
              <a:rPr lang="pt-BR" sz="2000" b="1" dirty="0" smtClean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  <a:t>optam pela</a:t>
            </a:r>
          </a:p>
        </p:txBody>
      </p:sp>
      <p:sp>
        <p:nvSpPr>
          <p:cNvPr id="40" name="Retângulo 39"/>
          <p:cNvSpPr/>
          <p:nvPr/>
        </p:nvSpPr>
        <p:spPr>
          <a:xfrm>
            <a:off x="746784" y="2181214"/>
            <a:ext cx="193193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400" b="1" dirty="0" smtClean="0">
                <a:solidFill>
                  <a:srgbClr val="FFFFFF"/>
                </a:solidFill>
                <a:latin typeface="Century Gothic" pitchFamily="34" charset="0"/>
              </a:rPr>
              <a:t>50,4% </a:t>
            </a:r>
            <a:endParaRPr lang="pt-BR" sz="4400" dirty="0">
              <a:solidFill>
                <a:srgbClr val="000000"/>
              </a:solidFill>
            </a:endParaRPr>
          </a:p>
        </p:txBody>
      </p:sp>
      <p:grpSp>
        <p:nvGrpSpPr>
          <p:cNvPr id="41" name="Grupo 14"/>
          <p:cNvGrpSpPr/>
          <p:nvPr/>
        </p:nvGrpSpPr>
        <p:grpSpPr>
          <a:xfrm>
            <a:off x="4881462" y="1039946"/>
            <a:ext cx="5678998" cy="4536504"/>
            <a:chOff x="116632" y="6537176"/>
            <a:chExt cx="2808312" cy="2232248"/>
          </a:xfrm>
        </p:grpSpPr>
        <p:sp>
          <p:nvSpPr>
            <p:cNvPr id="42" name="Retângulo 41"/>
            <p:cNvSpPr/>
            <p:nvPr/>
          </p:nvSpPr>
          <p:spPr>
            <a:xfrm>
              <a:off x="116632" y="6537176"/>
              <a:ext cx="2664296" cy="2232248"/>
            </a:xfrm>
            <a:prstGeom prst="rect">
              <a:avLst/>
            </a:prstGeom>
            <a:solidFill>
              <a:srgbClr val="EDF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rgbClr val="FFFFFF"/>
                </a:solidFill>
              </a:endParaRPr>
            </a:p>
          </p:txBody>
        </p:sp>
        <p:pic>
          <p:nvPicPr>
            <p:cNvPr id="43" name="Picture 2" descr="http://www.raiadiplomatica.com/wp-content/uploads/2011/03/alemanha.gif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88640" y="7833320"/>
              <a:ext cx="504056" cy="360039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pic>
          <p:nvPicPr>
            <p:cNvPr id="44" name="Picture 4" descr="http://www.brasil-turismo.com/imagens/bandeiras/bandeira-dobrasil.gif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484784" y="8337376"/>
              <a:ext cx="504056" cy="352574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45" name="CaixaDeTexto 44"/>
            <p:cNvSpPr txBox="1"/>
            <p:nvPr/>
          </p:nvSpPr>
          <p:spPr>
            <a:xfrm>
              <a:off x="1993048" y="8336977"/>
              <a:ext cx="720080" cy="3483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pt-BR" sz="2000" b="1" dirty="0" smtClean="0">
                  <a:solidFill>
                    <a:srgbClr val="FC7404"/>
                  </a:solidFill>
                  <a:latin typeface="Century Gothic" pitchFamily="34" charset="0"/>
                </a:rPr>
                <a:t>9,3%* </a:t>
              </a:r>
            </a:p>
            <a:p>
              <a:r>
                <a:rPr lang="pt-BR" sz="2000" b="1" dirty="0" smtClean="0">
                  <a:solidFill>
                    <a:srgbClr val="0052A4"/>
                  </a:solidFill>
                  <a:latin typeface="Century Gothic" pitchFamily="34" charset="0"/>
                </a:rPr>
                <a:t>Brasil</a:t>
              </a:r>
              <a:endParaRPr lang="pt-BR" sz="2000" b="1" dirty="0">
                <a:solidFill>
                  <a:srgbClr val="0052A4"/>
                </a:solidFill>
                <a:latin typeface="Century Gothic" pitchFamily="34" charset="0"/>
              </a:endParaRPr>
            </a:p>
          </p:txBody>
        </p:sp>
        <p:sp>
          <p:nvSpPr>
            <p:cNvPr id="46" name="CaixaDeTexto 45"/>
            <p:cNvSpPr txBox="1"/>
            <p:nvPr/>
          </p:nvSpPr>
          <p:spPr>
            <a:xfrm>
              <a:off x="692696" y="7833320"/>
              <a:ext cx="864096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000" b="1" dirty="0" smtClean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48,3% </a:t>
              </a:r>
            </a:p>
            <a:p>
              <a:r>
                <a:rPr lang="pt-BR" sz="2000" b="1" dirty="0" smtClean="0">
                  <a:solidFill>
                    <a:srgbClr val="0052A4"/>
                  </a:solidFill>
                  <a:latin typeface="Century Gothic" pitchFamily="34" charset="0"/>
                </a:rPr>
                <a:t>Alemanha</a:t>
              </a:r>
              <a:endParaRPr lang="pt-BR" sz="2000" b="1" dirty="0">
                <a:solidFill>
                  <a:srgbClr val="0052A4"/>
                </a:solidFill>
                <a:latin typeface="Century Gothic" pitchFamily="34" charset="0"/>
              </a:endParaRPr>
            </a:p>
          </p:txBody>
        </p:sp>
        <p:pic>
          <p:nvPicPr>
            <p:cNvPr id="47" name="Picture 8" descr="http://www.suapesquisa.com/paises/finlandia/bandeira_da_finlandia.gif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88640" y="7257256"/>
              <a:ext cx="504056" cy="381675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48" name="CaixaDeTexto 47"/>
            <p:cNvSpPr txBox="1"/>
            <p:nvPr/>
          </p:nvSpPr>
          <p:spPr>
            <a:xfrm>
              <a:off x="692696" y="7329264"/>
              <a:ext cx="792088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000" b="1" dirty="0" smtClean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70,1% </a:t>
              </a:r>
            </a:p>
            <a:p>
              <a:r>
                <a:rPr lang="pt-BR" sz="2000" b="1" dirty="0" smtClean="0">
                  <a:solidFill>
                    <a:srgbClr val="0052A4"/>
                  </a:solidFill>
                  <a:latin typeface="Century Gothic" pitchFamily="34" charset="0"/>
                </a:rPr>
                <a:t>Finlândia</a:t>
              </a:r>
              <a:endParaRPr lang="pt-BR" sz="2000" b="1" dirty="0">
                <a:solidFill>
                  <a:srgbClr val="0052A4"/>
                </a:solidFill>
                <a:latin typeface="Century Gothic" pitchFamily="34" charset="0"/>
              </a:endParaRPr>
            </a:p>
          </p:txBody>
        </p:sp>
        <p:pic>
          <p:nvPicPr>
            <p:cNvPr id="49" name="Picture 10" descr="http://www.bandeiras-nacionais.com/media/flags/flagge-spanien.gif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88640" y="8337376"/>
              <a:ext cx="504056" cy="349815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50" name="CaixaDeTexto 49"/>
            <p:cNvSpPr txBox="1"/>
            <p:nvPr/>
          </p:nvSpPr>
          <p:spPr>
            <a:xfrm>
              <a:off x="692696" y="8337376"/>
              <a:ext cx="720080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000" b="1" dirty="0" smtClean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45,5% </a:t>
              </a:r>
            </a:p>
            <a:p>
              <a:r>
                <a:rPr lang="pt-BR" sz="2000" b="1" dirty="0" smtClean="0">
                  <a:solidFill>
                    <a:srgbClr val="0052A4"/>
                  </a:solidFill>
                  <a:latin typeface="Century Gothic" pitchFamily="34" charset="0"/>
                </a:rPr>
                <a:t>Espanha</a:t>
              </a:r>
              <a:endParaRPr lang="pt-BR" sz="2000" b="1" dirty="0">
                <a:solidFill>
                  <a:srgbClr val="0052A4"/>
                </a:solidFill>
                <a:latin typeface="Century Gothic" pitchFamily="34" charset="0"/>
              </a:endParaRPr>
            </a:p>
          </p:txBody>
        </p:sp>
        <p:pic>
          <p:nvPicPr>
            <p:cNvPr id="51" name="Picture 14" descr="http://geo5.net/imagens/bandeira-do-reino-unido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484784" y="7833320"/>
              <a:ext cx="504056" cy="345638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52" name="CaixaDeTexto 51"/>
            <p:cNvSpPr txBox="1"/>
            <p:nvPr/>
          </p:nvSpPr>
          <p:spPr>
            <a:xfrm>
              <a:off x="1988840" y="7833320"/>
              <a:ext cx="936104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000" b="1" dirty="0" smtClean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38,6% </a:t>
              </a:r>
            </a:p>
            <a:p>
              <a:r>
                <a:rPr lang="pt-BR" sz="2000" b="1" dirty="0" smtClean="0">
                  <a:solidFill>
                    <a:srgbClr val="0052A4"/>
                  </a:solidFill>
                  <a:latin typeface="Century Gothic" pitchFamily="34" charset="0"/>
                </a:rPr>
                <a:t>Reino</a:t>
              </a:r>
              <a:r>
                <a:rPr lang="pt-BR" sz="900" b="1" dirty="0" smtClean="0">
                  <a:solidFill>
                    <a:srgbClr val="0052A4"/>
                  </a:solidFill>
                  <a:latin typeface="Century Gothic" pitchFamily="34" charset="0"/>
                </a:rPr>
                <a:t> </a:t>
              </a:r>
              <a:r>
                <a:rPr lang="pt-BR" sz="2000" b="1" dirty="0" smtClean="0">
                  <a:solidFill>
                    <a:srgbClr val="0052A4"/>
                  </a:solidFill>
                  <a:latin typeface="Century Gothic" pitchFamily="34" charset="0"/>
                </a:rPr>
                <a:t>Unido</a:t>
              </a:r>
              <a:endParaRPr lang="pt-BR" sz="2000" b="1" dirty="0">
                <a:solidFill>
                  <a:srgbClr val="0052A4"/>
                </a:solidFill>
                <a:latin typeface="Century Gothic" pitchFamily="34" charset="0"/>
              </a:endParaRPr>
            </a:p>
          </p:txBody>
        </p:sp>
        <p:pic>
          <p:nvPicPr>
            <p:cNvPr id="53" name="Picture 16" descr="http://lusilinha.com/ptflag.gif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484784" y="7329264"/>
              <a:ext cx="504056" cy="33933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54" name="CaixaDeTexto 53"/>
            <p:cNvSpPr txBox="1"/>
            <p:nvPr/>
          </p:nvSpPr>
          <p:spPr>
            <a:xfrm>
              <a:off x="1988840" y="7329264"/>
              <a:ext cx="936104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000" b="1" dirty="0" smtClean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43,6% </a:t>
              </a:r>
            </a:p>
            <a:p>
              <a:r>
                <a:rPr lang="pt-BR" sz="2000" b="1" dirty="0" smtClean="0">
                  <a:solidFill>
                    <a:srgbClr val="0052A4"/>
                  </a:solidFill>
                  <a:latin typeface="Century Gothic" pitchFamily="34" charset="0"/>
                </a:rPr>
                <a:t>Portugal</a:t>
              </a:r>
              <a:endParaRPr lang="pt-BR" sz="2000" b="1" dirty="0">
                <a:solidFill>
                  <a:srgbClr val="0052A4"/>
                </a:solidFill>
                <a:latin typeface="Century Gothic" pitchFamily="34" charset="0"/>
              </a:endParaRPr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692696" y="6753200"/>
              <a:ext cx="720080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000" b="1" dirty="0" smtClean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75,3% </a:t>
              </a:r>
            </a:p>
            <a:p>
              <a:r>
                <a:rPr lang="pt-BR" sz="2000" b="1" dirty="0" smtClean="0">
                  <a:solidFill>
                    <a:srgbClr val="0052A4"/>
                  </a:solidFill>
                  <a:latin typeface="Century Gothic" pitchFamily="34" charset="0"/>
                </a:rPr>
                <a:t>Áustria</a:t>
              </a:r>
              <a:endParaRPr lang="pt-BR" sz="2000" b="1" dirty="0">
                <a:solidFill>
                  <a:srgbClr val="0052A4"/>
                </a:solidFill>
                <a:latin typeface="Century Gothic" pitchFamily="34" charset="0"/>
              </a:endParaRPr>
            </a:p>
          </p:txBody>
        </p:sp>
        <p:sp>
          <p:nvSpPr>
            <p:cNvPr id="56" name="CaixaDeTexto 55"/>
            <p:cNvSpPr txBox="1"/>
            <p:nvPr/>
          </p:nvSpPr>
          <p:spPr>
            <a:xfrm>
              <a:off x="1988840" y="6753200"/>
              <a:ext cx="792088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000" b="1" dirty="0" smtClean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44,2% </a:t>
              </a:r>
            </a:p>
            <a:p>
              <a:r>
                <a:rPr lang="pt-BR" sz="2000" b="1" dirty="0" smtClean="0">
                  <a:solidFill>
                    <a:srgbClr val="0052A4"/>
                  </a:solidFill>
                  <a:latin typeface="Century Gothic" pitchFamily="34" charset="0"/>
                </a:rPr>
                <a:t>França</a:t>
              </a:r>
              <a:endParaRPr lang="pt-BR" sz="2000" b="1" dirty="0">
                <a:solidFill>
                  <a:srgbClr val="0052A4"/>
                </a:solidFill>
                <a:latin typeface="Century Gothic" pitchFamily="34" charset="0"/>
              </a:endParaRPr>
            </a:p>
          </p:txBody>
        </p:sp>
        <p:pic>
          <p:nvPicPr>
            <p:cNvPr id="57" name="Picture 6" descr="http://www.1001bandeiras.com/europa/austria/1000.png?download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88640" y="6753200"/>
              <a:ext cx="504056" cy="336205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pic>
          <p:nvPicPr>
            <p:cNvPr id="58" name="Picture 12" descr="http://geo5.net/imagens/bandeira-da-fran%C3%A7a-grande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484784" y="6753200"/>
              <a:ext cx="504056" cy="345552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</p:grpSp>
      <p:sp>
        <p:nvSpPr>
          <p:cNvPr id="59" name="Text Box 15"/>
          <p:cNvSpPr txBox="1">
            <a:spLocks noChangeArrowheads="1"/>
          </p:cNvSpPr>
          <p:nvPr/>
        </p:nvSpPr>
        <p:spPr bwMode="auto">
          <a:xfrm>
            <a:off x="7219816" y="5378020"/>
            <a:ext cx="246073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30000"/>
              </a:spcBef>
            </a:pPr>
            <a:r>
              <a:rPr lang="pt-BR" sz="2000" dirty="0" smtClean="0">
                <a:solidFill>
                  <a:srgbClr val="0052A4"/>
                </a:solidFill>
                <a:latin typeface="Century Gothic" pitchFamily="34" charset="0"/>
              </a:rPr>
              <a:t/>
            </a:r>
            <a:br>
              <a:rPr lang="pt-BR" sz="2000" dirty="0" smtClean="0">
                <a:solidFill>
                  <a:srgbClr val="0052A4"/>
                </a:solidFill>
                <a:latin typeface="Century Gothic" pitchFamily="34" charset="0"/>
              </a:rPr>
            </a:br>
            <a:r>
              <a:rPr lang="pt-BR" sz="2000" dirty="0" smtClean="0">
                <a:solidFill>
                  <a:srgbClr val="FC7404"/>
                </a:solidFill>
                <a:latin typeface="Century Gothic" pitchFamily="34" charset="0"/>
              </a:rPr>
              <a:t>*</a:t>
            </a:r>
            <a:r>
              <a:rPr lang="pt-BR" sz="1000" dirty="0" smtClean="0">
                <a:solidFill>
                  <a:srgbClr val="002960"/>
                </a:solidFill>
                <a:latin typeface="Century Gothic" pitchFamily="34" charset="0"/>
              </a:rPr>
              <a:t>Ensino Médio </a:t>
            </a:r>
            <a:r>
              <a:rPr lang="pt-BR" sz="1000" dirty="0">
                <a:solidFill>
                  <a:srgbClr val="002960"/>
                </a:solidFill>
                <a:latin typeface="Century Gothic" pitchFamily="34" charset="0"/>
              </a:rPr>
              <a:t>integrado e </a:t>
            </a:r>
            <a:r>
              <a:rPr lang="pt-BR" sz="1000" dirty="0" smtClean="0">
                <a:solidFill>
                  <a:srgbClr val="002960"/>
                </a:solidFill>
                <a:latin typeface="Century Gothic" pitchFamily="34" charset="0"/>
              </a:rPr>
              <a:t>concomitante à educação Profissional</a:t>
            </a:r>
          </a:p>
        </p:txBody>
      </p:sp>
      <p:sp>
        <p:nvSpPr>
          <p:cNvPr id="60" name="Rectangle 5"/>
          <p:cNvSpPr>
            <a:spLocks noChangeArrowheads="1"/>
          </p:cNvSpPr>
          <p:nvPr/>
        </p:nvSpPr>
        <p:spPr bwMode="auto">
          <a:xfrm>
            <a:off x="2381373" y="6013052"/>
            <a:ext cx="410445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Clr>
                <a:srgbClr val="00ADEF"/>
              </a:buClr>
              <a:buFont typeface="Wingdings" pitchFamily="2" charset="2"/>
              <a:buNone/>
            </a:pPr>
            <a:r>
              <a:rPr lang="pt-BR" altLang="pt-BR" sz="1000" dirty="0">
                <a:solidFill>
                  <a:srgbClr val="002960"/>
                </a:solidFill>
                <a:latin typeface="Century Gothic" pitchFamily="34" charset="0"/>
              </a:rPr>
              <a:t>Fonte: </a:t>
            </a:r>
            <a:r>
              <a:rPr lang="pt-BR" altLang="pt-BR" sz="1000" dirty="0" smtClean="0">
                <a:solidFill>
                  <a:srgbClr val="002960"/>
                </a:solidFill>
                <a:latin typeface="Century Gothic" pitchFamily="34" charset="0"/>
              </a:rPr>
              <a:t>Censo da Educação Básica, 2016/ CEDEFOP, 2015</a:t>
            </a:r>
          </a:p>
          <a:p>
            <a:pPr eaLnBrk="1" hangingPunct="1">
              <a:buClr>
                <a:srgbClr val="00ADEF"/>
              </a:buClr>
              <a:buFont typeface="Wingdings" pitchFamily="2" charset="2"/>
              <a:buNone/>
            </a:pPr>
            <a:r>
              <a:rPr lang="pt-BR" altLang="pt-BR" sz="1000" dirty="0" smtClean="0">
                <a:solidFill>
                  <a:srgbClr val="002960"/>
                </a:solidFill>
                <a:latin typeface="Century Gothic" pitchFamily="34" charset="0"/>
              </a:rPr>
              <a:t>Elaboração UNIEPRO</a:t>
            </a:r>
            <a:endParaRPr lang="pt-BR" altLang="pt-BR" sz="1000" dirty="0">
              <a:solidFill>
                <a:srgbClr val="002960"/>
              </a:solidFill>
              <a:latin typeface="Century Gothic" pitchFamily="34" charset="0"/>
            </a:endParaRPr>
          </a:p>
        </p:txBody>
      </p:sp>
      <p:sp>
        <p:nvSpPr>
          <p:cNvPr id="61" name="Retângulo 60"/>
          <p:cNvSpPr/>
          <p:nvPr/>
        </p:nvSpPr>
        <p:spPr>
          <a:xfrm>
            <a:off x="-534906" y="4235462"/>
            <a:ext cx="3312368" cy="954107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  <a:sp3d/>
        </p:spPr>
        <p:txBody>
          <a:bodyPr wrap="square">
            <a:spAutoFit/>
            <a:flatTx/>
          </a:bodyPr>
          <a:lstStyle/>
          <a:p>
            <a:pPr marL="0" lvl="3" algn="r">
              <a:spcBef>
                <a:spcPts val="1200"/>
              </a:spcBef>
              <a:buClr>
                <a:srgbClr val="A5C0ED"/>
              </a:buClr>
            </a:pPr>
            <a:r>
              <a:rPr lang="pt-BR" sz="2800" b="1" dirty="0" smtClean="0">
                <a:solidFill>
                  <a:srgbClr val="FFFFFF"/>
                </a:solidFill>
                <a:latin typeface="Century Gothic" pitchFamily="34" charset="0"/>
              </a:rPr>
              <a:t>Educação </a:t>
            </a:r>
            <a:br>
              <a:rPr lang="pt-BR" sz="2800" b="1" dirty="0" smtClean="0">
                <a:solidFill>
                  <a:srgbClr val="FFFFFF"/>
                </a:solidFill>
                <a:latin typeface="Century Gothic" pitchFamily="34" charset="0"/>
              </a:rPr>
            </a:br>
            <a:r>
              <a:rPr lang="pt-BR" sz="2800" b="1" dirty="0" smtClean="0">
                <a:solidFill>
                  <a:srgbClr val="FFFFFF"/>
                </a:solidFill>
                <a:latin typeface="Century Gothic" pitchFamily="34" charset="0"/>
              </a:rPr>
              <a:t>Profissional </a:t>
            </a:r>
          </a:p>
        </p:txBody>
      </p:sp>
      <p:sp>
        <p:nvSpPr>
          <p:cNvPr id="2" name="Retângulo 1"/>
          <p:cNvSpPr/>
          <p:nvPr/>
        </p:nvSpPr>
        <p:spPr>
          <a:xfrm>
            <a:off x="1481560" y="914401"/>
            <a:ext cx="2222339" cy="16027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008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8" descr="Resultado de imagem para olimpiada do conhecimento 2016"/>
          <p:cNvSpPr>
            <a:spLocks noChangeAspect="1" noChangeArrowheads="1"/>
          </p:cNvSpPr>
          <p:nvPr/>
        </p:nvSpPr>
        <p:spPr bwMode="auto">
          <a:xfrm>
            <a:off x="155663" y="-144462"/>
            <a:ext cx="304796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</a:endParaRPr>
          </a:p>
        </p:txBody>
      </p:sp>
      <p:sp>
        <p:nvSpPr>
          <p:cNvPr id="34" name="CaixaDeTexto 4"/>
          <p:cNvSpPr txBox="1">
            <a:spLocks noChangeArrowheads="1"/>
          </p:cNvSpPr>
          <p:nvPr/>
        </p:nvSpPr>
        <p:spPr bwMode="auto">
          <a:xfrm>
            <a:off x="946613" y="104657"/>
            <a:ext cx="993655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pt-BR" sz="4000" b="1" dirty="0" smtClean="0">
                <a:solidFill>
                  <a:srgbClr val="002060"/>
                </a:solidFill>
              </a:rPr>
              <a:t>A NOVA LEI DO ENSINO MÉDIO BRASILEIRO</a:t>
            </a:r>
            <a:endParaRPr lang="pt-BR" sz="4000" b="1" dirty="0">
              <a:solidFill>
                <a:srgbClr val="002060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946613" y="760593"/>
            <a:ext cx="108794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 smtClean="0">
                <a:solidFill>
                  <a:srgbClr val="002060"/>
                </a:solidFill>
                <a:latin typeface="Calibri"/>
              </a:rPr>
              <a:t>APRENDIZAGEM PROFISSIONAL</a:t>
            </a:r>
            <a:endParaRPr lang="pt-BR" sz="3200" b="1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17" name="Conector reto 16"/>
          <p:cNvCxnSpPr/>
          <p:nvPr/>
        </p:nvCxnSpPr>
        <p:spPr>
          <a:xfrm>
            <a:off x="5914890" y="1802046"/>
            <a:ext cx="35775" cy="4404529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18" name="Retângulo 17"/>
          <p:cNvSpPr/>
          <p:nvPr/>
        </p:nvSpPr>
        <p:spPr>
          <a:xfrm>
            <a:off x="294167" y="1497594"/>
            <a:ext cx="5620722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b="1" dirty="0" smtClean="0">
                <a:solidFill>
                  <a:prstClr val="black"/>
                </a:solidFill>
                <a:latin typeface="Calibri"/>
              </a:rPr>
              <a:t>§ </a:t>
            </a:r>
            <a:r>
              <a:rPr lang="pt-BR" sz="2000" b="1" dirty="0">
                <a:solidFill>
                  <a:prstClr val="black"/>
                </a:solidFill>
                <a:latin typeface="Calibri"/>
              </a:rPr>
              <a:t>6o</a:t>
            </a:r>
            <a:r>
              <a:rPr lang="pt-BR" sz="2000" dirty="0">
                <a:solidFill>
                  <a:prstClr val="black"/>
                </a:solidFill>
                <a:latin typeface="Calibri"/>
              </a:rPr>
              <a:t> A critério dos sistemas de ensino, </a:t>
            </a:r>
            <a:r>
              <a:rPr lang="pt-BR" sz="2000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a oferta de formação com ênfase técnica e profissional considerará: </a:t>
            </a:r>
            <a:endParaRPr lang="pt-BR" sz="2000" b="1" dirty="0" smtClean="0">
              <a:solidFill>
                <a:srgbClr val="4472C4">
                  <a:lumMod val="50000"/>
                </a:srgbClr>
              </a:solidFill>
              <a:latin typeface="Calibri"/>
            </a:endParaRPr>
          </a:p>
          <a:p>
            <a:pPr>
              <a:lnSpc>
                <a:spcPct val="150000"/>
              </a:lnSpc>
            </a:pPr>
            <a:endParaRPr lang="pt-BR" sz="2000" b="1" dirty="0" smtClean="0">
              <a:solidFill>
                <a:srgbClr val="4472C4">
                  <a:lumMod val="50000"/>
                </a:srgbClr>
              </a:solidFill>
              <a:latin typeface="Calibri"/>
            </a:endParaRPr>
          </a:p>
          <a:p>
            <a:pPr lvl="1">
              <a:lnSpc>
                <a:spcPct val="150000"/>
              </a:lnSpc>
            </a:pPr>
            <a:r>
              <a:rPr lang="pt-BR" sz="2000" b="1" dirty="0" smtClean="0">
                <a:solidFill>
                  <a:prstClr val="black"/>
                </a:solidFill>
                <a:latin typeface="Calibri"/>
              </a:rPr>
              <a:t>I </a:t>
            </a:r>
            <a:r>
              <a:rPr lang="pt-BR" sz="2000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- a inclusão </a:t>
            </a:r>
            <a:r>
              <a:rPr lang="pt-BR" sz="2000" dirty="0">
                <a:solidFill>
                  <a:prstClr val="black"/>
                </a:solidFill>
                <a:latin typeface="Calibri"/>
              </a:rPr>
              <a:t>de vivências </a:t>
            </a:r>
            <a:r>
              <a:rPr lang="pt-BR" sz="2000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práticas de trabalho no setor produtivo</a:t>
            </a:r>
            <a:r>
              <a:rPr lang="pt-BR" sz="200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pt-BR" sz="2000" dirty="0">
                <a:solidFill>
                  <a:prstClr val="black"/>
                </a:solidFill>
                <a:latin typeface="Calibri"/>
              </a:rPr>
              <a:t>ou em ambientes de simulação, estabelecendo parcerias e fazendo uso, quando aplicável, de instrumentos estabelecidos pela legislação sobre </a:t>
            </a:r>
            <a:r>
              <a:rPr lang="pt-BR" sz="2000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aprendizagem profissional</a:t>
            </a:r>
            <a:r>
              <a:rPr lang="pt-BR" sz="2000" b="1" dirty="0">
                <a:solidFill>
                  <a:prstClr val="black"/>
                </a:solidFill>
                <a:latin typeface="Calibri"/>
              </a:rPr>
              <a:t>;</a:t>
            </a:r>
            <a:r>
              <a:rPr lang="pt-BR" sz="2000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3" name="Retângulo 2"/>
          <p:cNvSpPr/>
          <p:nvPr/>
        </p:nvSpPr>
        <p:spPr>
          <a:xfrm>
            <a:off x="6285175" y="3120697"/>
            <a:ext cx="4745620" cy="324091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238875" y="2232356"/>
            <a:ext cx="574490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2800" b="1" dirty="0" smtClean="0">
                <a:solidFill>
                  <a:srgbClr val="4472C4">
                    <a:lumMod val="50000"/>
                  </a:srgbClr>
                </a:solidFill>
                <a:latin typeface="Calibri"/>
              </a:rPr>
              <a:t>Inclusão da experiência prática e da APRENDIZAGEM PROFISSIONAL como parte diversificada do ensino médio</a:t>
            </a:r>
            <a:endParaRPr lang="pt-BR" sz="2800" b="1" dirty="0">
              <a:solidFill>
                <a:srgbClr val="4472C4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7659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CaixaDeTexto 60"/>
          <p:cNvSpPr txBox="1"/>
          <p:nvPr/>
        </p:nvSpPr>
        <p:spPr>
          <a:xfrm>
            <a:off x="3948708" y="5926688"/>
            <a:ext cx="7584683" cy="508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33"/>
              </a:lnSpc>
            </a:pPr>
            <a:r>
              <a:rPr lang="pt-BR" sz="1200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Fonte: ILO 2010; ILO KILM, 2013; ILO </a:t>
            </a:r>
            <a:r>
              <a:rPr lang="pt-BR" sz="1200" dirty="0" err="1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calculations</a:t>
            </a:r>
            <a:r>
              <a:rPr lang="pt-BR" sz="1200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; RAIS 2014 </a:t>
            </a:r>
            <a:br>
              <a:rPr lang="pt-BR" sz="1200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</a:br>
            <a:r>
              <a:rPr lang="pt-BR" sz="1200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(trabalhadores no mercado de trabalho formal)</a:t>
            </a:r>
          </a:p>
        </p:txBody>
      </p:sp>
      <p:pic>
        <p:nvPicPr>
          <p:cNvPr id="62" name="Imagem 6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8865" b="3965"/>
          <a:stretch/>
        </p:blipFill>
        <p:spPr>
          <a:xfrm>
            <a:off x="579120" y="1877567"/>
            <a:ext cx="3010266" cy="4724401"/>
          </a:xfrm>
          <a:prstGeom prst="rect">
            <a:avLst/>
          </a:prstGeom>
        </p:spPr>
      </p:pic>
      <p:sp>
        <p:nvSpPr>
          <p:cNvPr id="63" name="Elipse 62"/>
          <p:cNvSpPr/>
          <p:nvPr/>
        </p:nvSpPr>
        <p:spPr>
          <a:xfrm>
            <a:off x="11291888" y="3557588"/>
            <a:ext cx="900112" cy="2119312"/>
          </a:xfrm>
          <a:prstGeom prst="ellipse">
            <a:avLst/>
          </a:prstGeom>
          <a:noFill/>
          <a:ln w="381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2400" kern="0" smtClean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64" name="Gráfico 63"/>
          <p:cNvGraphicFramePr>
            <a:graphicFrameLocks/>
          </p:cNvGraphicFramePr>
          <p:nvPr>
            <p:extLst/>
          </p:nvPr>
        </p:nvGraphicFramePr>
        <p:xfrm>
          <a:off x="4206875" y="1160364"/>
          <a:ext cx="8021741" cy="4704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5" name="Título 2"/>
          <p:cNvSpPr txBox="1">
            <a:spLocks/>
          </p:cNvSpPr>
          <p:nvPr/>
        </p:nvSpPr>
        <p:spPr>
          <a:xfrm>
            <a:off x="826194" y="123192"/>
            <a:ext cx="10238364" cy="10302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chemeClr val="tx2">
                    <a:lumMod val="75000"/>
                  </a:schemeClr>
                </a:solidFill>
                <a:latin typeface="Impact" panose="020B0806030902050204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pt-BR" sz="2800" b="1" dirty="0" smtClean="0">
                <a:solidFill>
                  <a:srgbClr val="44546A">
                    <a:lumMod val="75000"/>
                  </a:srgbClr>
                </a:solidFill>
                <a:latin typeface="Calibri"/>
              </a:rPr>
              <a:t>PERCENTUAL DE APRENDIZES EM RELAÇÃO AO NÚMERO TOTAL DE TRABALHADORES</a:t>
            </a:r>
            <a:endParaRPr lang="pt-BR" sz="2800" b="1" dirty="0">
              <a:solidFill>
                <a:srgbClr val="44546A">
                  <a:lumMod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44649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tângulo 12"/>
          <p:cNvSpPr/>
          <p:nvPr/>
        </p:nvSpPr>
        <p:spPr>
          <a:xfrm>
            <a:off x="111497" y="1054727"/>
            <a:ext cx="95935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pt-BR" sz="2400" b="1" dirty="0">
                <a:solidFill>
                  <a:prstClr val="black"/>
                </a:solidFill>
                <a:latin typeface="Century Gothic" panose="020B0502020202020204" pitchFamily="34" charset="0"/>
                <a:cs typeface="Arial" pitchFamily="34" charset="0"/>
              </a:rPr>
              <a:t>TOP 10 - Ocupações - Aprendizagem </a:t>
            </a:r>
            <a:r>
              <a:rPr lang="pt-BR" sz="1867" dirty="0">
                <a:solidFill>
                  <a:prstClr val="black"/>
                </a:solidFill>
                <a:latin typeface="Century Gothic" panose="020B0502020202020204" pitchFamily="34" charset="0"/>
                <a:cs typeface="Arial" pitchFamily="34" charset="0"/>
              </a:rPr>
              <a:t>(Todos os setores da economia)</a:t>
            </a:r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/>
          </p:nvPr>
        </p:nvGraphicFramePr>
        <p:xfrm>
          <a:off x="224256" y="1648959"/>
          <a:ext cx="11336044" cy="4215463"/>
        </p:xfrm>
        <a:graphic>
          <a:graphicData uri="http://schemas.openxmlformats.org/drawingml/2006/table">
            <a:tbl>
              <a:tblPr/>
              <a:tblGrid>
                <a:gridCol w="2602383"/>
                <a:gridCol w="640379"/>
                <a:gridCol w="2815843"/>
                <a:gridCol w="640379"/>
                <a:gridCol w="3996681"/>
                <a:gridCol w="640379"/>
              </a:tblGrid>
              <a:tr h="306297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CANADÁ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%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ALEMANHA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%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BRASIL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%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</a:tr>
              <a:tr h="438991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Eletricista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15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Secretariado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6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Escriturários em geral, agentes, assistentes </a:t>
                      </a:r>
                      <a:b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</a:br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e auxiliares administrativo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61%</a:t>
                      </a:r>
                      <a:endParaRPr lang="pt-BR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401114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Carpinteiro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12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Vendas de varejo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5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Vendedores e demonstradores </a:t>
                      </a:r>
                      <a:b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</a:br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em lojas ou mercado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9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</a:tr>
              <a:tr h="333411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Encanador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10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Vendas 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5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Mecânicos de </a:t>
                      </a:r>
                      <a:r>
                        <a:rPr lang="pt-BR" sz="1100" u="none" strike="noStrike" dirty="0" err="1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manut</a:t>
                      </a:r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. de maq. industriai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5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</a:tr>
              <a:tr h="349216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Serviços Automotivo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10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Mecatrônica para veículos automotivo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4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Contínuo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2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</a:tr>
              <a:tr h="333411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Tec. de Suporte do Usuário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5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Administração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3,5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Escriturários de serviços bancário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2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</a:tr>
              <a:tr h="430902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Serviço de Alimentação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5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Comércio</a:t>
                      </a:r>
                      <a:r>
                        <a:rPr lang="pt-BR" sz="1100" u="none" strike="noStrike" baseline="0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 exterior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3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Trabalhadores de embalagem </a:t>
                      </a:r>
                      <a:b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</a:br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e de etiquetagem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2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</a:tr>
              <a:tr h="333411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Estilista de Cabelo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4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Instrumentação cirúrgica 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3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Alimentadores de linhas de produção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2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</a:tr>
              <a:tr h="306297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Acabamento Interior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4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Mecânica industrial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2,5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Ajustadores mecânicos polivalente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2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</a:tr>
              <a:tr h="306297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Soldador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4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Serviços bancário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2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Almoxarifes e armazenista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1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</a:tr>
              <a:tr h="338058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Acabamento Exterior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4%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Eletrônica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9707" marR="9707" marT="9707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2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pt-BR" sz="11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Garçons, barmen, copeiros e </a:t>
                      </a:r>
                      <a:r>
                        <a:rPr lang="pt-BR" sz="1100" u="none" strike="noStrike" dirty="0" err="1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sommeliers</a:t>
                      </a:r>
                      <a:endParaRPr lang="pt-BR" sz="1100" b="1" i="0" u="none" strike="noStrike" dirty="0"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200" u="none" strike="noStrike" dirty="0" smtClean="0"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1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</a:tr>
              <a:tr h="338058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pt-BR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   TOTAL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73%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36%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itchFamily="34" charset="0"/>
                        </a:rPr>
                        <a:t>87%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</a:txBody>
                  <a:tcPr marL="10585" marR="10585" marT="1058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5" name="CaixaDeTexto 14"/>
          <p:cNvSpPr txBox="1"/>
          <p:nvPr/>
        </p:nvSpPr>
        <p:spPr>
          <a:xfrm>
            <a:off x="111497" y="5864422"/>
            <a:ext cx="9894048" cy="61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200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Fonte: </a:t>
            </a:r>
            <a:r>
              <a:rPr lang="pt-BR" sz="1200" dirty="0" err="1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Higher</a:t>
            </a:r>
            <a:r>
              <a:rPr lang="pt-BR" sz="1200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pt-BR" sz="1200" dirty="0" err="1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Education</a:t>
            </a:r>
            <a:r>
              <a:rPr lang="pt-BR" sz="1200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pt-BR" sz="1200" dirty="0" err="1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Estrategy</a:t>
            </a:r>
            <a:r>
              <a:rPr lang="pt-BR" sz="1200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 Associates (Canadá); BIBB - Instituto Federal Alemão para Formação Profissional (Alemanha); RAIS 2014 (Brasil)</a:t>
            </a:r>
          </a:p>
        </p:txBody>
      </p:sp>
      <p:sp>
        <p:nvSpPr>
          <p:cNvPr id="16" name="Título 1"/>
          <p:cNvSpPr txBox="1">
            <a:spLocks/>
          </p:cNvSpPr>
          <p:nvPr/>
        </p:nvSpPr>
        <p:spPr>
          <a:xfrm>
            <a:off x="837771" y="255272"/>
            <a:ext cx="10238364" cy="1030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chemeClr val="tx2">
                    <a:lumMod val="75000"/>
                  </a:schemeClr>
                </a:solidFill>
                <a:latin typeface="Impact" panose="020B0806030902050204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pt-BR" b="1" dirty="0" smtClean="0">
                <a:solidFill>
                  <a:srgbClr val="44546A">
                    <a:lumMod val="75000"/>
                  </a:srgbClr>
                </a:solidFill>
                <a:latin typeface="Calibri"/>
              </a:rPr>
              <a:t>ALINHAMENTO entre oferta e demanda</a:t>
            </a:r>
            <a:r>
              <a:rPr lang="pt-BR" dirty="0" smtClean="0">
                <a:solidFill>
                  <a:srgbClr val="44546A">
                    <a:lumMod val="75000"/>
                  </a:srgbClr>
                </a:solidFill>
                <a:latin typeface="Calibri"/>
              </a:rPr>
              <a:t/>
            </a:r>
            <a:br>
              <a:rPr lang="pt-BR" dirty="0" smtClean="0">
                <a:solidFill>
                  <a:srgbClr val="44546A">
                    <a:lumMod val="75000"/>
                  </a:srgbClr>
                </a:solidFill>
                <a:latin typeface="Calibri"/>
              </a:rPr>
            </a:br>
            <a:endParaRPr lang="pt-BR" dirty="0">
              <a:solidFill>
                <a:srgbClr val="44546A">
                  <a:lumMod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3182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tângulo 34"/>
          <p:cNvSpPr/>
          <p:nvPr/>
        </p:nvSpPr>
        <p:spPr>
          <a:xfrm>
            <a:off x="0" y="1897782"/>
            <a:ext cx="12192000" cy="3018463"/>
          </a:xfrm>
          <a:prstGeom prst="rect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2400" kern="0" smtClea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527382" y="1897782"/>
            <a:ext cx="3191199" cy="3018463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2400" kern="0" smtClea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37" name="CaixaDeTexto 36"/>
          <p:cNvSpPr txBox="1"/>
          <p:nvPr/>
        </p:nvSpPr>
        <p:spPr>
          <a:xfrm>
            <a:off x="0" y="5977422"/>
            <a:ext cx="79756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200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Fonte: Comissão Econômica para a América Latina - CEPAL (2014)</a:t>
            </a:r>
          </a:p>
        </p:txBody>
      </p:sp>
      <p:sp>
        <p:nvSpPr>
          <p:cNvPr id="38" name="Retângulo de cantos arredondados 37"/>
          <p:cNvSpPr/>
          <p:nvPr/>
        </p:nvSpPr>
        <p:spPr>
          <a:xfrm>
            <a:off x="6643420" y="5138627"/>
            <a:ext cx="400937" cy="343180"/>
          </a:xfrm>
          <a:prstGeom prst="round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2400" kern="0" smtClea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Retângulo de cantos arredondados 38"/>
          <p:cNvSpPr/>
          <p:nvPr/>
        </p:nvSpPr>
        <p:spPr>
          <a:xfrm>
            <a:off x="1967542" y="5133812"/>
            <a:ext cx="400812" cy="347997"/>
          </a:xfrm>
          <a:prstGeom prst="roundRect">
            <a:avLst/>
          </a:prstGeom>
          <a:solidFill>
            <a:srgbClr val="0062A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2400" kern="0" smtClea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7050309" y="5061181"/>
            <a:ext cx="3942236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20"/>
              </a:lnSpc>
            </a:pPr>
            <a:r>
              <a:rPr lang="pt-BR" sz="1600" dirty="0">
                <a:solidFill>
                  <a:prstClr val="black"/>
                </a:solidFill>
                <a:latin typeface="Century Gothic" panose="020B0502020202020204" pitchFamily="34" charset="0"/>
                <a:cs typeface="Arial" pitchFamily="34" charset="0"/>
              </a:rPr>
              <a:t>Contratos de Aprendizagem não efetivados após a formação</a:t>
            </a:r>
          </a:p>
        </p:txBody>
      </p:sp>
      <p:sp>
        <p:nvSpPr>
          <p:cNvPr id="41" name="CaixaDeTexto 40"/>
          <p:cNvSpPr txBox="1"/>
          <p:nvPr/>
        </p:nvSpPr>
        <p:spPr>
          <a:xfrm>
            <a:off x="2374306" y="5061181"/>
            <a:ext cx="3011521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20"/>
              </a:lnSpc>
            </a:pPr>
            <a:r>
              <a:rPr lang="pt-BR" sz="1600" dirty="0">
                <a:solidFill>
                  <a:prstClr val="black"/>
                </a:solidFill>
                <a:latin typeface="Century Gothic" panose="020B0502020202020204" pitchFamily="34" charset="0"/>
                <a:cs typeface="Arial" pitchFamily="34" charset="0"/>
              </a:rPr>
              <a:t>Contratos de Aprendizagem efetivados</a:t>
            </a:r>
          </a:p>
        </p:txBody>
      </p:sp>
      <p:sp>
        <p:nvSpPr>
          <p:cNvPr id="42" name="CaixaDeTexto 41"/>
          <p:cNvSpPr txBox="1"/>
          <p:nvPr/>
        </p:nvSpPr>
        <p:spPr>
          <a:xfrm>
            <a:off x="1391477" y="1895729"/>
            <a:ext cx="23042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2000" b="1" dirty="0">
                <a:solidFill>
                  <a:prstClr val="black"/>
                </a:solidFill>
                <a:latin typeface="Century Gothic" panose="020B0502020202020204" pitchFamily="34" charset="0"/>
                <a:cs typeface="Arial" pitchFamily="34" charset="0"/>
              </a:rPr>
              <a:t>INGLATERRA</a:t>
            </a:r>
          </a:p>
        </p:txBody>
      </p:sp>
      <p:graphicFrame>
        <p:nvGraphicFramePr>
          <p:cNvPr id="43" name="Gráfico 42"/>
          <p:cNvGraphicFramePr>
            <a:graphicFrameLocks/>
          </p:cNvGraphicFramePr>
          <p:nvPr>
            <p:extLst/>
          </p:nvPr>
        </p:nvGraphicFramePr>
        <p:xfrm>
          <a:off x="894576" y="2290720"/>
          <a:ext cx="2987179" cy="2668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44" name="Picture 2" descr="Resultado de imagem para bandeira da inglaterr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82" y="1892830"/>
            <a:ext cx="841175" cy="504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CaixaDeTexto 44"/>
          <p:cNvSpPr txBox="1"/>
          <p:nvPr/>
        </p:nvSpPr>
        <p:spPr>
          <a:xfrm>
            <a:off x="6229856" y="5985693"/>
            <a:ext cx="2267405" cy="400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333" dirty="0">
                <a:solidFill>
                  <a:srgbClr val="FFC000">
                    <a:lumMod val="50000"/>
                  </a:srgbClr>
                </a:solidFill>
                <a:latin typeface="Century Gothic" panose="020B0502020202020204" pitchFamily="34" charset="0"/>
                <a:cs typeface="Arial" pitchFamily="34" charset="0"/>
              </a:rPr>
              <a:t>Brasil: RAIS 2011</a:t>
            </a:r>
          </a:p>
        </p:txBody>
      </p:sp>
      <p:sp>
        <p:nvSpPr>
          <p:cNvPr id="46" name="Retângulo 45"/>
          <p:cNvSpPr/>
          <p:nvPr/>
        </p:nvSpPr>
        <p:spPr>
          <a:xfrm>
            <a:off x="527382" y="1401245"/>
            <a:ext cx="7399783" cy="48622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pt-BR" altLang="pt-BR" sz="2133" b="1" dirty="0">
                <a:solidFill>
                  <a:prstClr val="black"/>
                </a:solidFill>
                <a:latin typeface="Century Gothic" panose="020B0502020202020204" pitchFamily="34" charset="0"/>
                <a:cs typeface="Arial" pitchFamily="34" charset="0"/>
              </a:rPr>
              <a:t>Taxa de contratação do aprendiz ao término do curso</a:t>
            </a:r>
            <a:endParaRPr lang="pt-BR" altLang="pt-BR" sz="2133" b="1" cap="all" dirty="0">
              <a:solidFill>
                <a:prstClr val="black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4590462" y="1892830"/>
            <a:ext cx="3191199" cy="3018463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2400" kern="0" smtClea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48" name="Retângulo 47"/>
          <p:cNvSpPr/>
          <p:nvPr/>
        </p:nvSpPr>
        <p:spPr>
          <a:xfrm>
            <a:off x="8400257" y="1892830"/>
            <a:ext cx="3191199" cy="3018463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pt-BR" sz="2400" kern="0" smtClea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49" name="Picture 6" descr="Bandeira da Alemanh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374" y="1902886"/>
            <a:ext cx="957281" cy="523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CaixaDeTexto 49"/>
          <p:cNvSpPr txBox="1"/>
          <p:nvPr/>
        </p:nvSpPr>
        <p:spPr>
          <a:xfrm>
            <a:off x="5327915" y="1892829"/>
            <a:ext cx="23042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2000" b="1" dirty="0">
                <a:solidFill>
                  <a:prstClr val="black"/>
                </a:solidFill>
                <a:latin typeface="Century Gothic" panose="020B0502020202020204" pitchFamily="34" charset="0"/>
                <a:cs typeface="Arial" pitchFamily="34" charset="0"/>
              </a:rPr>
              <a:t>ALEMANHA</a:t>
            </a:r>
          </a:p>
        </p:txBody>
      </p:sp>
      <p:graphicFrame>
        <p:nvGraphicFramePr>
          <p:cNvPr id="51" name="Gráfico 50"/>
          <p:cNvGraphicFramePr>
            <a:graphicFrameLocks/>
          </p:cNvGraphicFramePr>
          <p:nvPr>
            <p:extLst/>
          </p:nvPr>
        </p:nvGraphicFramePr>
        <p:xfrm>
          <a:off x="4466660" y="2284643"/>
          <a:ext cx="3502816" cy="267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52" name="Gráfico 51"/>
          <p:cNvGraphicFramePr>
            <a:graphicFrameLocks/>
          </p:cNvGraphicFramePr>
          <p:nvPr>
            <p:extLst/>
          </p:nvPr>
        </p:nvGraphicFramePr>
        <p:xfrm>
          <a:off x="8252666" y="2458135"/>
          <a:ext cx="3219932" cy="2472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53" name="CaixaDeTexto 52"/>
          <p:cNvSpPr txBox="1"/>
          <p:nvPr/>
        </p:nvSpPr>
        <p:spPr>
          <a:xfrm>
            <a:off x="9456374" y="2730599"/>
            <a:ext cx="120298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9994">
              <a:spcBef>
                <a:spcPts val="3200"/>
              </a:spcBef>
            </a:pPr>
            <a:r>
              <a:rPr lang="pt-BR" sz="1867" b="1" dirty="0">
                <a:solidFill>
                  <a:prstClr val="white"/>
                </a:solidFill>
                <a:latin typeface="Century Gothic" panose="020B0502020202020204" pitchFamily="34" charset="0"/>
                <a:cs typeface="Arial" pitchFamily="34" charset="0"/>
              </a:rPr>
              <a:t>10,3%</a:t>
            </a:r>
            <a:endParaRPr lang="pt-BR" sz="1867" dirty="0">
              <a:solidFill>
                <a:prstClr val="white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54" name="CaixaDeTexto 53"/>
          <p:cNvSpPr txBox="1"/>
          <p:nvPr/>
        </p:nvSpPr>
        <p:spPr>
          <a:xfrm>
            <a:off x="9017486" y="3738095"/>
            <a:ext cx="128481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9994">
              <a:spcBef>
                <a:spcPts val="3200"/>
              </a:spcBef>
            </a:pPr>
            <a:r>
              <a:rPr lang="pt-BR" sz="1867" b="1" dirty="0">
                <a:solidFill>
                  <a:prstClr val="black"/>
                </a:solidFill>
                <a:latin typeface="Century Gothic" panose="020B0502020202020204" pitchFamily="34" charset="0"/>
                <a:cs typeface="Arial" pitchFamily="34" charset="0"/>
              </a:rPr>
              <a:t>89,7%</a:t>
            </a:r>
            <a:endParaRPr lang="pt-BR" sz="1867" dirty="0">
              <a:solidFill>
                <a:prstClr val="black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55" name="CaixaDeTexto 19"/>
          <p:cNvSpPr txBox="1">
            <a:spLocks noChangeArrowheads="1"/>
          </p:cNvSpPr>
          <p:nvPr/>
        </p:nvSpPr>
        <p:spPr bwMode="auto">
          <a:xfrm>
            <a:off x="9072331" y="1914896"/>
            <a:ext cx="2496919" cy="523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News Gothic MT"/>
              </a:defRPr>
            </a:lvl1pPr>
            <a:lvl2pPr marL="742950" indent="-285750">
              <a:defRPr>
                <a:solidFill>
                  <a:schemeClr val="tx1"/>
                </a:solidFill>
                <a:latin typeface="News Gothic MT"/>
              </a:defRPr>
            </a:lvl2pPr>
            <a:lvl3pPr marL="1143000" indent="-228600">
              <a:defRPr>
                <a:solidFill>
                  <a:schemeClr val="tx1"/>
                </a:solidFill>
                <a:latin typeface="News Gothic MT"/>
              </a:defRPr>
            </a:lvl3pPr>
            <a:lvl4pPr marL="1600200" indent="-228600">
              <a:defRPr>
                <a:solidFill>
                  <a:schemeClr val="tx1"/>
                </a:solidFill>
                <a:latin typeface="News Gothic MT"/>
              </a:defRPr>
            </a:lvl4pPr>
            <a:lvl5pPr marL="2057400" indent="-228600">
              <a:defRPr>
                <a:solidFill>
                  <a:schemeClr val="tx1"/>
                </a:solidFill>
                <a:latin typeface="News Gothic M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ews Gothic M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ews Gothic M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ews Gothic M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ews Gothic M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pt-BR" altLang="pt-BR" sz="1867" b="1" dirty="0">
                <a:solidFill>
                  <a:prstClr val="black"/>
                </a:solidFill>
                <a:latin typeface="Century Gothic" panose="020B0502020202020204" pitchFamily="34" charset="0"/>
                <a:cs typeface="Arial" pitchFamily="34" charset="0"/>
              </a:rPr>
              <a:t>BRASIL</a:t>
            </a:r>
          </a:p>
        </p:txBody>
      </p:sp>
      <p:pic>
        <p:nvPicPr>
          <p:cNvPr id="56" name="Picture 8" descr="Resultado de imagem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8400255" y="1899855"/>
            <a:ext cx="876423" cy="554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ítulo 1"/>
          <p:cNvSpPr txBox="1">
            <a:spLocks/>
          </p:cNvSpPr>
          <p:nvPr/>
        </p:nvSpPr>
        <p:spPr>
          <a:xfrm>
            <a:off x="866834" y="181990"/>
            <a:ext cx="10238364" cy="1030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chemeClr val="tx2">
                    <a:lumMod val="75000"/>
                  </a:schemeClr>
                </a:solidFill>
                <a:latin typeface="Impact" panose="020B0806030902050204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pt-BR" b="1" dirty="0" smtClean="0">
                <a:solidFill>
                  <a:srgbClr val="4472C4">
                    <a:lumMod val="50000"/>
                  </a:srgbClr>
                </a:solidFill>
                <a:latin typeface="Calibri"/>
              </a:rPr>
              <a:t>A Aprendizagem PRECISA FORTALECER sua essência educacional</a:t>
            </a:r>
            <a:endParaRPr lang="pt-BR" b="1" dirty="0">
              <a:solidFill>
                <a:srgbClr val="4472C4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3102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ângulo 16"/>
          <p:cNvSpPr/>
          <p:nvPr/>
        </p:nvSpPr>
        <p:spPr>
          <a:xfrm>
            <a:off x="247122" y="1691366"/>
            <a:ext cx="11482603" cy="469927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65073" tIns="91440" rIns="91440" bIns="91440" numCol="1" spcCol="1270" anchor="ctr" anchorCtr="0">
            <a:noAutofit/>
          </a:bodyPr>
          <a:lstStyle/>
          <a:p>
            <a:pPr algn="just" defTabSz="1066773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</a:pPr>
            <a:r>
              <a:rPr lang="pt-BR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mpliar a oferta de aprendizagem  </a:t>
            </a:r>
            <a:r>
              <a:rPr lang="pt-BR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linhada as demandas de médio e longo prazo do setor produtivo. </a:t>
            </a:r>
          </a:p>
          <a:p>
            <a:pPr algn="just" defTabSz="1066773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</a:pPr>
            <a:r>
              <a:rPr lang="pt-BR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tualizar a CBO</a:t>
            </a:r>
            <a:r>
              <a:rPr lang="pt-BR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com a participação dos respectivos setores produtivos, gerando a identificação das ocupações que demandam formação metódica e que deverão ser consideradas no cálculo da cota de aprendizes</a:t>
            </a:r>
            <a:r>
              <a:rPr lang="pt-BR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just" defTabSz="1066773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</a:pPr>
            <a:r>
              <a:rPr lang="pt-BR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mpliar a oferta de formação de técnicos de nível médio, </a:t>
            </a:r>
            <a:r>
              <a:rPr lang="pt-BR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ossibilitando o reconhecimento de créditos para o ensino superior, alinhado com o novo marco regulatório do ensino médio</a:t>
            </a:r>
            <a:r>
              <a:rPr lang="pt-BR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just" defTabSz="1066773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</a:pPr>
            <a:r>
              <a:rPr lang="pt-BR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xpandir o tempo de duração do contrato </a:t>
            </a:r>
            <a:r>
              <a:rPr lang="pt-BR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 aprendizagem para até três anos para uma maior sinergia com o novo modelo do Ensino Médio, permitindo abordagens inovadoras que fortaleçam o Sistema Dual, Itinerários Formativos dentre outros</a:t>
            </a:r>
            <a:r>
              <a:rPr lang="pt-BR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just" defTabSz="1066773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</a:pPr>
            <a:r>
              <a:rPr lang="pt-BR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studar a possibilidade de </a:t>
            </a:r>
            <a:r>
              <a:rPr lang="pt-BR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lteração da idade mínima dos aprendizes para  16 anos</a:t>
            </a:r>
            <a:r>
              <a:rPr lang="pt-BR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permitindo sua atuação nas áreas de produção da indústria</a:t>
            </a:r>
            <a:r>
              <a:rPr lang="pt-BR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pt-BR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defTabSz="1066773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</a:pPr>
            <a:endParaRPr lang="pt-BR" sz="16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-981455" y="1229361"/>
            <a:ext cx="2743200" cy="5161280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2000" r="-6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Título 2"/>
          <p:cNvSpPr txBox="1">
            <a:spLocks/>
          </p:cNvSpPr>
          <p:nvPr/>
        </p:nvSpPr>
        <p:spPr>
          <a:xfrm>
            <a:off x="897314" y="0"/>
            <a:ext cx="11294686" cy="10302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chemeClr val="tx2">
                    <a:lumMod val="75000"/>
                  </a:schemeClr>
                </a:solidFill>
                <a:latin typeface="Impact" panose="020B0806030902050204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pt-BR" sz="3200" b="1" dirty="0" smtClean="0">
                <a:solidFill>
                  <a:srgbClr val="4472C4">
                    <a:lumMod val="50000"/>
                  </a:srgbClr>
                </a:solidFill>
                <a:latin typeface="Calibri"/>
              </a:rPr>
              <a:t>PROPOSTAS PARA A APRENDIZAGEM</a:t>
            </a:r>
            <a:endParaRPr lang="pt-BR" sz="3200" b="1" dirty="0">
              <a:solidFill>
                <a:srgbClr val="4472C4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188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tângulo 15"/>
          <p:cNvSpPr>
            <a:spLocks noChangeArrowheads="1"/>
          </p:cNvSpPr>
          <p:nvPr/>
        </p:nvSpPr>
        <p:spPr bwMode="auto">
          <a:xfrm>
            <a:off x="-107947" y="6597650"/>
            <a:ext cx="608051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altLang="pt-BR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onte: </a:t>
            </a:r>
            <a:r>
              <a:rPr lang="pt-BR" altLang="pt-B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istema de Apropriação de Serviços Técnicos e Tecnológicos do SENAI, em 30/01/2015.</a:t>
            </a:r>
          </a:p>
        </p:txBody>
      </p:sp>
      <p:pic>
        <p:nvPicPr>
          <p:cNvPr id="7" name="Picture 2" descr="http://respostassustentaveis.com.br/wp-content/uploads/2015/05/industria-4.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756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0132" y="378898"/>
            <a:ext cx="2471531" cy="2385391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01159" y="299800"/>
            <a:ext cx="636104" cy="774839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9159" y="577679"/>
            <a:ext cx="2226365" cy="2126973"/>
          </a:xfrm>
          <a:prstGeom prst="rect">
            <a:avLst/>
          </a:prstGeom>
        </p:spPr>
      </p:pic>
      <p:sp>
        <p:nvSpPr>
          <p:cNvPr id="16" name="CaixaDeTexto 15"/>
          <p:cNvSpPr txBox="1"/>
          <p:nvPr/>
        </p:nvSpPr>
        <p:spPr>
          <a:xfrm>
            <a:off x="6355803" y="1506579"/>
            <a:ext cx="2753360" cy="304633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" sz="2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IGADO</a:t>
            </a:r>
            <a:r>
              <a:rPr lang="en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en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5954" y="596394"/>
            <a:ext cx="223520" cy="172720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1234" y="609094"/>
            <a:ext cx="254000" cy="172720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15443" y="2261858"/>
            <a:ext cx="223520" cy="172720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2935" y="2249858"/>
            <a:ext cx="254000" cy="17272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292100" y="1811212"/>
            <a:ext cx="6100236" cy="3512628"/>
          </a:xfrm>
          <a:prstGeom prst="rect">
            <a:avLst/>
          </a:prstGeom>
          <a:solidFill>
            <a:schemeClr val="accent5">
              <a:lumMod val="75000"/>
              <a:alpha val="6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4" name="Imagem 15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09" t="24438" r="63155" b="66743"/>
          <a:stretch>
            <a:fillRect/>
          </a:stretch>
        </p:blipFill>
        <p:spPr bwMode="auto">
          <a:xfrm>
            <a:off x="5867410" y="2448329"/>
            <a:ext cx="1237495" cy="859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aixaDeTexto 14"/>
          <p:cNvSpPr txBox="1"/>
          <p:nvPr/>
        </p:nvSpPr>
        <p:spPr>
          <a:xfrm>
            <a:off x="92670" y="2422578"/>
            <a:ext cx="661284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dirty="0" smtClean="0">
                <a:solidFill>
                  <a:prstClr val="white"/>
                </a:solidFill>
              </a:rPr>
              <a:t>RAFAEL LUCCHESI</a:t>
            </a:r>
          </a:p>
          <a:p>
            <a:pPr algn="ctr"/>
            <a:endParaRPr lang="pt-BR" sz="2800" dirty="0" smtClean="0">
              <a:solidFill>
                <a:prstClr val="white"/>
              </a:solidFill>
            </a:endParaRPr>
          </a:p>
          <a:p>
            <a:pPr algn="ctr"/>
            <a:r>
              <a:rPr lang="pt-BR" sz="2800" dirty="0" smtClean="0">
                <a:solidFill>
                  <a:prstClr val="white"/>
                </a:solidFill>
              </a:rPr>
              <a:t>Diretor de Educação</a:t>
            </a:r>
          </a:p>
          <a:p>
            <a:pPr algn="ctr"/>
            <a:r>
              <a:rPr lang="pt-BR" sz="2800" dirty="0" smtClean="0">
                <a:solidFill>
                  <a:prstClr val="white"/>
                </a:solidFill>
              </a:rPr>
              <a:t> e Tecnologia da CNI</a:t>
            </a:r>
          </a:p>
          <a:p>
            <a:pPr algn="ctr"/>
            <a:r>
              <a:rPr lang="pt-BR" sz="2800" dirty="0" smtClean="0">
                <a:solidFill>
                  <a:prstClr val="white"/>
                </a:solidFill>
              </a:rPr>
              <a:t>Diretor-geral do SENAI</a:t>
            </a:r>
          </a:p>
          <a:p>
            <a:pPr algn="ctr"/>
            <a:r>
              <a:rPr lang="pt-BR" sz="2800" dirty="0" smtClean="0">
                <a:solidFill>
                  <a:prstClr val="white"/>
                </a:solidFill>
              </a:rPr>
              <a:t>Superintendente do SESI</a:t>
            </a:r>
          </a:p>
        </p:txBody>
      </p:sp>
    </p:spTree>
    <p:extLst>
      <p:ext uri="{BB962C8B-B14F-4D97-AF65-F5344CB8AC3E}">
        <p14:creationId xmlns:p14="http://schemas.microsoft.com/office/powerpoint/2010/main" val="174511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tângulo 35"/>
          <p:cNvSpPr/>
          <p:nvPr/>
        </p:nvSpPr>
        <p:spPr>
          <a:xfrm>
            <a:off x="4456253" y="4002092"/>
            <a:ext cx="773574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232337">
              <a:defRPr/>
            </a:pPr>
            <a:r>
              <a:rPr lang="pt-BR" sz="4000" b="1" kern="0" dirty="0" smtClean="0">
                <a:solidFill>
                  <a:srgbClr val="4472C4">
                    <a:lumMod val="50000"/>
                  </a:srgbClr>
                </a:solidFill>
              </a:rPr>
              <a:t>7</a:t>
            </a:r>
            <a:r>
              <a:rPr lang="pt-BR" sz="3200" kern="0" dirty="0" smtClean="0">
                <a:solidFill>
                  <a:srgbClr val="4472C4">
                    <a:lumMod val="50000"/>
                  </a:srgbClr>
                </a:solidFill>
              </a:rPr>
              <a:t> </a:t>
            </a:r>
            <a:r>
              <a:rPr lang="pt-BR" sz="2800" kern="0" dirty="0" smtClean="0">
                <a:solidFill>
                  <a:srgbClr val="4472C4">
                    <a:lumMod val="50000"/>
                  </a:srgbClr>
                </a:solidFill>
              </a:rPr>
              <a:t>em cada </a:t>
            </a:r>
            <a:r>
              <a:rPr lang="pt-BR" sz="4000" b="1" kern="0" dirty="0" smtClean="0">
                <a:solidFill>
                  <a:srgbClr val="4472C4">
                    <a:lumMod val="50000"/>
                  </a:srgbClr>
                </a:solidFill>
              </a:rPr>
              <a:t>10</a:t>
            </a:r>
            <a:r>
              <a:rPr lang="pt-BR" sz="3600" b="1" kern="0" dirty="0" smtClean="0">
                <a:solidFill>
                  <a:srgbClr val="4472C4">
                    <a:lumMod val="50000"/>
                  </a:srgbClr>
                </a:solidFill>
              </a:rPr>
              <a:t> </a:t>
            </a:r>
            <a:r>
              <a:rPr lang="pt-BR" sz="2800" kern="0" dirty="0" smtClean="0">
                <a:solidFill>
                  <a:srgbClr val="4472C4">
                    <a:lumMod val="50000"/>
                  </a:srgbClr>
                </a:solidFill>
              </a:rPr>
              <a:t>alunos de cursos técnicos do SENAI, por exemplo, </a:t>
            </a:r>
            <a:r>
              <a:rPr lang="pt-BR" sz="3200" b="1" kern="0" dirty="0" smtClean="0">
                <a:solidFill>
                  <a:srgbClr val="4472C4">
                    <a:lumMod val="50000"/>
                  </a:srgbClr>
                </a:solidFill>
              </a:rPr>
              <a:t>conseguem emprego </a:t>
            </a:r>
            <a:r>
              <a:rPr lang="pt-BR" sz="2800" kern="0" dirty="0" smtClean="0">
                <a:solidFill>
                  <a:srgbClr val="4472C4">
                    <a:lumMod val="50000"/>
                  </a:srgbClr>
                </a:solidFill>
              </a:rPr>
              <a:t>no primeiro ano após a conclusão do curso</a:t>
            </a:r>
          </a:p>
        </p:txBody>
      </p:sp>
      <p:sp>
        <p:nvSpPr>
          <p:cNvPr id="37" name="Retângulo 36"/>
          <p:cNvSpPr/>
          <p:nvPr/>
        </p:nvSpPr>
        <p:spPr>
          <a:xfrm>
            <a:off x="5423416" y="1077778"/>
            <a:ext cx="6665197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232337">
              <a:defRPr/>
            </a:pPr>
            <a:r>
              <a:rPr lang="pt-BR" sz="4000" b="1" kern="0" dirty="0" smtClean="0">
                <a:solidFill>
                  <a:srgbClr val="4472C4">
                    <a:lumMod val="50000"/>
                  </a:srgbClr>
                </a:solidFill>
              </a:rPr>
              <a:t>90% </a:t>
            </a:r>
            <a:r>
              <a:rPr lang="pt-BR" sz="2800" kern="0" dirty="0" smtClean="0">
                <a:solidFill>
                  <a:srgbClr val="4472C4">
                    <a:lumMod val="50000"/>
                  </a:srgbClr>
                </a:solidFill>
              </a:rPr>
              <a:t>dos brasileiros concordam que os cursos de </a:t>
            </a:r>
            <a:r>
              <a:rPr lang="pt-BR" sz="3200" b="1" kern="0" dirty="0" smtClean="0">
                <a:solidFill>
                  <a:srgbClr val="4472C4">
                    <a:lumMod val="50000"/>
                  </a:srgbClr>
                </a:solidFill>
              </a:rPr>
              <a:t>educação profissional </a:t>
            </a:r>
            <a:r>
              <a:rPr lang="pt-BR" sz="2800" kern="0" dirty="0" smtClean="0">
                <a:solidFill>
                  <a:srgbClr val="4472C4">
                    <a:lumMod val="50000"/>
                  </a:srgbClr>
                </a:solidFill>
              </a:rPr>
              <a:t>tem </a:t>
            </a:r>
            <a:r>
              <a:rPr lang="pt-BR" sz="3200" b="1" kern="0" dirty="0" smtClean="0">
                <a:solidFill>
                  <a:srgbClr val="4472C4">
                    <a:lumMod val="50000"/>
                  </a:srgbClr>
                </a:solidFill>
              </a:rPr>
              <a:t>mais oportunidades no mercado de trabalho</a:t>
            </a:r>
          </a:p>
        </p:txBody>
      </p:sp>
      <p:cxnSp>
        <p:nvCxnSpPr>
          <p:cNvPr id="38" name="Conector reto 7"/>
          <p:cNvCxnSpPr>
            <a:cxnSpLocks noChangeShapeType="1"/>
          </p:cNvCxnSpPr>
          <p:nvPr/>
        </p:nvCxnSpPr>
        <p:spPr bwMode="auto">
          <a:xfrm flipV="1">
            <a:off x="5437931" y="3742078"/>
            <a:ext cx="6723682" cy="6399"/>
          </a:xfrm>
          <a:prstGeom prst="line">
            <a:avLst/>
          </a:prstGeom>
          <a:noFill/>
          <a:ln w="9525" algn="ctr">
            <a:solidFill>
              <a:srgbClr val="46A73F">
                <a:alpha val="6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9" name="Rectangle 5"/>
          <p:cNvSpPr>
            <a:spLocks noChangeArrowheads="1"/>
          </p:cNvSpPr>
          <p:nvPr/>
        </p:nvSpPr>
        <p:spPr bwMode="auto">
          <a:xfrm>
            <a:off x="-93226" y="5934644"/>
            <a:ext cx="593175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Clr>
                <a:srgbClr val="ED7D31"/>
              </a:buClr>
              <a:buFont typeface="Wingdings" pitchFamily="2" charset="2"/>
              <a:buNone/>
            </a:pPr>
            <a:r>
              <a:rPr lang="pt-BR" altLang="pt-BR" sz="1600" dirty="0" smtClean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Fontes: CNI, Ibope e Pesquisa de Egresso, SENAI</a:t>
            </a:r>
            <a:endParaRPr lang="pt-BR" altLang="pt-BR" sz="1600" dirty="0">
              <a:solidFill>
                <a:schemeClr val="accent3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0" y="0"/>
            <a:ext cx="1828800" cy="1672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pic>
        <p:nvPicPr>
          <p:cNvPr id="41" name="Imagem 4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71" r="48435"/>
          <a:stretch/>
        </p:blipFill>
        <p:spPr>
          <a:xfrm>
            <a:off x="-1" y="0"/>
            <a:ext cx="5541843" cy="5934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616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tângulo 22"/>
          <p:cNvSpPr/>
          <p:nvPr/>
        </p:nvSpPr>
        <p:spPr>
          <a:xfrm>
            <a:off x="5537436" y="4083068"/>
            <a:ext cx="1690577" cy="1944462"/>
          </a:xfrm>
          <a:prstGeom prst="rect">
            <a:avLst/>
          </a:prstGeom>
          <a:noFill/>
          <a:ln w="38100" cap="flat" cmpd="sng" algn="ctr">
            <a:solidFill>
              <a:srgbClr val="70AD47">
                <a:lumMod val="75000"/>
              </a:srgbClr>
            </a:solidFill>
            <a:prstDash val="dash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4" name="Gráfico 23"/>
          <p:cNvGraphicFramePr/>
          <p:nvPr>
            <p:extLst>
              <p:ext uri="{D42A27DB-BD31-4B8C-83A1-F6EECF244321}">
                <p14:modId xmlns:p14="http://schemas.microsoft.com/office/powerpoint/2010/main" val="1773770357"/>
              </p:ext>
            </p:extLst>
          </p:nvPr>
        </p:nvGraphicFramePr>
        <p:xfrm>
          <a:off x="-241051" y="1884002"/>
          <a:ext cx="7426534" cy="41152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5" name="TextBox 6"/>
          <p:cNvSpPr txBox="1"/>
          <p:nvPr/>
        </p:nvSpPr>
        <p:spPr>
          <a:xfrm>
            <a:off x="1219840" y="1534154"/>
            <a:ext cx="4940403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173">
              <a:lnSpc>
                <a:spcPct val="150000"/>
              </a:lnSpc>
            </a:pPr>
            <a:r>
              <a:rPr lang="en-US" sz="3600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76,1% </a:t>
            </a:r>
          </a:p>
          <a:p>
            <a:pPr algn="r" defTabSz="457173">
              <a:lnSpc>
                <a:spcPct val="150000"/>
              </a:lnSpc>
            </a:pPr>
            <a:r>
              <a:rPr lang="en-US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dos </a:t>
            </a:r>
            <a:r>
              <a:rPr lang="en-US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jovens</a:t>
            </a:r>
            <a:r>
              <a:rPr lang="en-US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atribuem</a:t>
            </a:r>
            <a:r>
              <a:rPr lang="en-US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grande</a:t>
            </a:r>
            <a:r>
              <a:rPr lang="en-US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importância</a:t>
            </a:r>
            <a:r>
              <a:rPr lang="en-US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da </a:t>
            </a:r>
            <a:r>
              <a:rPr lang="en-US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educação</a:t>
            </a:r>
            <a:r>
              <a:rPr lang="en-US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profissional</a:t>
            </a:r>
            <a:r>
              <a:rPr lang="en-US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para </a:t>
            </a:r>
            <a:r>
              <a:rPr lang="en-US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conseguir</a:t>
            </a:r>
            <a:r>
              <a:rPr lang="en-US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o </a:t>
            </a:r>
            <a:r>
              <a:rPr lang="en-US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primeiro</a:t>
            </a:r>
            <a:r>
              <a:rPr lang="en-US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emprego</a:t>
            </a:r>
            <a:endParaRPr lang="en-US" sz="3600" b="1" dirty="0">
              <a:solidFill>
                <a:srgbClr val="4472C4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6" name="Retângulo 25"/>
          <p:cNvSpPr>
            <a:spLocks noChangeArrowheads="1"/>
          </p:cNvSpPr>
          <p:nvPr/>
        </p:nvSpPr>
        <p:spPr bwMode="auto">
          <a:xfrm>
            <a:off x="917727" y="99765"/>
            <a:ext cx="10765048" cy="117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3484" tIns="31742" rIns="63484" bIns="31742">
            <a:spAutoFit/>
          </a:bodyPr>
          <a:lstStyle/>
          <a:p>
            <a:pPr defTabSz="457173"/>
            <a:r>
              <a:rPr lang="pt-BR" altLang="pt-BR" sz="3600" b="1" dirty="0">
                <a:solidFill>
                  <a:srgbClr val="002060"/>
                </a:solidFill>
                <a:latin typeface="Calibri"/>
              </a:rPr>
              <a:t>A EDUCAÇÃO PROFISSIONAL É O PASSAPORTE PARA O PRIMEIRO EMPREGO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8136457" y="2760674"/>
            <a:ext cx="3830798" cy="3266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3">
              <a:lnSpc>
                <a:spcPct val="150000"/>
              </a:lnSpc>
            </a:pPr>
            <a:r>
              <a:rPr lang="pt-BR" sz="1528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Pergunta: </a:t>
            </a:r>
          </a:p>
          <a:p>
            <a:pPr algn="ctr" defTabSz="457173">
              <a:lnSpc>
                <a:spcPct val="150000"/>
              </a:lnSpc>
            </a:pPr>
            <a:r>
              <a:rPr lang="pt-BR" sz="1528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(</a:t>
            </a:r>
            <a:r>
              <a:rPr lang="pt-BR" sz="1528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PARA QUEM FEZ/ESTÁ FAZENDO/PRETENDE FAZER CURSO TÉCNICO) </a:t>
            </a:r>
          </a:p>
          <a:p>
            <a:pPr algn="ctr" defTabSz="457173">
              <a:lnSpc>
                <a:spcPct val="150000"/>
              </a:lnSpc>
            </a:pPr>
            <a:r>
              <a:rPr lang="pt-BR" sz="1528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Utilizando uma escala de 0 a 10, em que 0 é nenhuma importância e 10 é muita importância, qual o grau de importância que você acredita que esse curso técnico tem: </a:t>
            </a:r>
            <a:r>
              <a:rPr lang="pt-BR" sz="1528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Para conseguir seu primeiro emprego </a:t>
            </a:r>
            <a:r>
              <a:rPr lang="pt-BR" sz="1528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(Estimulada e única)</a:t>
            </a:r>
          </a:p>
        </p:txBody>
      </p:sp>
      <p:graphicFrame>
        <p:nvGraphicFramePr>
          <p:cNvPr id="28" name="Tabela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726572"/>
              </p:ext>
            </p:extLst>
          </p:nvPr>
        </p:nvGraphicFramePr>
        <p:xfrm>
          <a:off x="8344828" y="1740716"/>
          <a:ext cx="3081900" cy="889000"/>
        </p:xfrm>
        <a:graphic>
          <a:graphicData uri="http://schemas.openxmlformats.org/drawingml/2006/table">
            <a:tbl>
              <a:tblPr firstRow="1" bandRow="1"/>
              <a:tblGrid>
                <a:gridCol w="855474"/>
                <a:gridCol w="998053"/>
                <a:gridCol w="1228373"/>
              </a:tblGrid>
              <a:tr h="518160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Média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Não sabe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Não respondeu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pt-BR" sz="180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8,2</a:t>
                      </a:r>
                      <a:endParaRPr lang="pt-BR" sz="1800" b="1" kern="1200" dirty="0" smtClean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pt-BR" sz="180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0,6%</a:t>
                      </a:r>
                      <a:endParaRPr lang="pt-BR" sz="1800" b="1" kern="1200" dirty="0" smtClean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10,7%</a:t>
                      </a:r>
                      <a:endParaRPr lang="pt-BR" sz="1800" b="1" kern="1200" dirty="0" smtClean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-6957" y="6099405"/>
            <a:ext cx="835178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658277"/>
            <a:r>
              <a:rPr lang="pt-BR" altLang="pt-BR" sz="1600" dirty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Fonte: </a:t>
            </a:r>
            <a:r>
              <a:rPr lang="pt-BR" altLang="pt-BR" sz="1600" dirty="0" smtClean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Pesquisa FSB “</a:t>
            </a:r>
            <a:r>
              <a:rPr lang="pt-BR" sz="1600" dirty="0" smtClean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Os Jovens, a Educação e </a:t>
            </a:r>
            <a:r>
              <a:rPr lang="pt-BR" sz="1600" dirty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o</a:t>
            </a:r>
            <a:r>
              <a:rPr lang="pt-BR" sz="1600" dirty="0" smtClean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 Ensino Técnico”, 2016</a:t>
            </a:r>
            <a:endParaRPr lang="pt-BR" sz="1600" dirty="0">
              <a:solidFill>
                <a:schemeClr val="accent3">
                  <a:lumMod val="50000"/>
                </a:schemeClr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025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ângulo 16"/>
          <p:cNvSpPr>
            <a:spLocks noChangeArrowheads="1"/>
          </p:cNvSpPr>
          <p:nvPr/>
        </p:nvSpPr>
        <p:spPr bwMode="auto">
          <a:xfrm>
            <a:off x="908379" y="83351"/>
            <a:ext cx="11099472" cy="1004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3484" tIns="31742" rIns="63484" bIns="31742">
            <a:spAutoFit/>
          </a:bodyPr>
          <a:lstStyle/>
          <a:p>
            <a:pPr defTabSz="457173"/>
            <a:r>
              <a:rPr lang="pt-BR" altLang="pt-BR" sz="3056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O CURSO TÉCNICO TEM ELEVADA IMPORTÂNCIA NO FUTURO </a:t>
            </a:r>
            <a:r>
              <a:rPr lang="pt-BR" altLang="pt-BR" sz="3056" b="1" dirty="0" smtClean="0">
                <a:solidFill>
                  <a:srgbClr val="4472C4">
                    <a:lumMod val="50000"/>
                  </a:srgbClr>
                </a:solidFill>
                <a:latin typeface="Calibri"/>
              </a:rPr>
              <a:t>PROFISSIONAL </a:t>
            </a:r>
            <a:r>
              <a:rPr lang="pt-BR" altLang="pt-BR" sz="3056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DO JOVEM</a:t>
            </a:r>
          </a:p>
        </p:txBody>
      </p:sp>
      <p:graphicFrame>
        <p:nvGraphicFramePr>
          <p:cNvPr id="18" name="Tabe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6871908"/>
              </p:ext>
            </p:extLst>
          </p:nvPr>
        </p:nvGraphicFramePr>
        <p:xfrm>
          <a:off x="8207306" y="1612498"/>
          <a:ext cx="3398331" cy="980440"/>
        </p:xfrm>
        <a:graphic>
          <a:graphicData uri="http://schemas.openxmlformats.org/drawingml/2006/table">
            <a:tbl>
              <a:tblPr firstRow="1" bandRow="1"/>
              <a:tblGrid>
                <a:gridCol w="999438"/>
                <a:gridCol w="1076499"/>
                <a:gridCol w="1322394"/>
              </a:tblGrid>
              <a:tr h="599505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1700" dirty="0" smtClean="0">
                          <a:solidFill>
                            <a:schemeClr val="bg1"/>
                          </a:solidFill>
                        </a:rPr>
                        <a:t>Média</a:t>
                      </a:r>
                      <a:endParaRPr lang="pt-BR" sz="1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1700" dirty="0" smtClean="0">
                          <a:solidFill>
                            <a:schemeClr val="bg1"/>
                          </a:solidFill>
                        </a:rPr>
                        <a:t>Não sabe</a:t>
                      </a:r>
                      <a:endParaRPr lang="pt-BR" sz="1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b="1" kern="1200">
                          <a:solidFill>
                            <a:schemeClr val="bg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1700" dirty="0" smtClean="0">
                          <a:solidFill>
                            <a:schemeClr val="bg1"/>
                          </a:solidFill>
                        </a:rPr>
                        <a:t>Não respondeu</a:t>
                      </a:r>
                      <a:endParaRPr lang="pt-BR" sz="1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pt-BR" sz="170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8,7</a:t>
                      </a:r>
                      <a:endParaRPr lang="pt-BR" sz="1700" b="1" kern="1200" dirty="0" smtClean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pt-BR" sz="170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0,6%</a:t>
                      </a:r>
                      <a:endParaRPr lang="pt-BR" sz="1700" b="1" kern="1200" dirty="0" smtClean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22005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44012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66017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88024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110029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732036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354041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976048" algn="l" defTabSz="1244012" rtl="0" eaLnBrk="1" latinLnBrk="0" hangingPunct="1">
                        <a:defRPr lang="x-none" sz="2449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10,7%</a:t>
                      </a:r>
                      <a:endParaRPr lang="pt-BR" sz="1700" b="1" kern="1200" dirty="0" smtClean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CaixaDeTexto 18"/>
          <p:cNvSpPr txBox="1"/>
          <p:nvPr/>
        </p:nvSpPr>
        <p:spPr>
          <a:xfrm>
            <a:off x="8207306" y="2786566"/>
            <a:ext cx="3719762" cy="3266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3">
              <a:lnSpc>
                <a:spcPct val="150000"/>
              </a:lnSpc>
            </a:pPr>
            <a:r>
              <a:rPr lang="pt-BR" sz="1528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Pergunta: </a:t>
            </a:r>
          </a:p>
          <a:p>
            <a:pPr algn="ctr" defTabSz="457173">
              <a:lnSpc>
                <a:spcPct val="150000"/>
              </a:lnSpc>
            </a:pPr>
            <a:r>
              <a:rPr lang="pt-BR" sz="1528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(</a:t>
            </a:r>
            <a:r>
              <a:rPr lang="pt-BR" sz="1528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PARA QUEM FEZ/ESTÁ FAZENDO/PRETENDE FAZER CURSO TÉCNICO)</a:t>
            </a:r>
          </a:p>
          <a:p>
            <a:pPr algn="ctr" defTabSz="457173">
              <a:lnSpc>
                <a:spcPct val="150000"/>
              </a:lnSpc>
            </a:pPr>
            <a:r>
              <a:rPr lang="pt-BR" sz="1528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Utilizando uma escala de 0 a 10, em que 0 é nenhuma importância e 10 é muita importância, qual o grau de importância que você acredita que esse curso técnico tem: </a:t>
            </a:r>
            <a:r>
              <a:rPr lang="pt-BR" sz="1528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No seu futuro profissional </a:t>
            </a:r>
            <a:r>
              <a:rPr lang="pt-BR" sz="1528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(Estimulada e única)</a:t>
            </a:r>
          </a:p>
        </p:txBody>
      </p:sp>
      <p:graphicFrame>
        <p:nvGraphicFramePr>
          <p:cNvPr id="20" name="Gráfico 19"/>
          <p:cNvGraphicFramePr/>
          <p:nvPr>
            <p:extLst/>
          </p:nvPr>
        </p:nvGraphicFramePr>
        <p:xfrm>
          <a:off x="652409" y="1601654"/>
          <a:ext cx="6475400" cy="4092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TextBox 6"/>
          <p:cNvSpPr txBox="1"/>
          <p:nvPr/>
        </p:nvSpPr>
        <p:spPr>
          <a:xfrm>
            <a:off x="1568459" y="1174772"/>
            <a:ext cx="4995996" cy="18558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173">
              <a:lnSpc>
                <a:spcPct val="150000"/>
              </a:lnSpc>
            </a:pPr>
            <a:r>
              <a:rPr lang="en-US" sz="3750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79,5% </a:t>
            </a:r>
            <a:r>
              <a:rPr lang="en-US" sz="1945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dos </a:t>
            </a:r>
            <a:r>
              <a:rPr lang="en-US" sz="1945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jovens</a:t>
            </a:r>
            <a:r>
              <a:rPr lang="en-US" sz="1945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945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atribuem</a:t>
            </a:r>
            <a:r>
              <a:rPr lang="en-US" sz="1945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945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grande</a:t>
            </a:r>
            <a:r>
              <a:rPr lang="en-US" sz="1945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945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importância</a:t>
            </a:r>
            <a:r>
              <a:rPr lang="en-US" sz="1945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de um </a:t>
            </a:r>
            <a:r>
              <a:rPr lang="en-US" sz="1945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curso</a:t>
            </a:r>
            <a:r>
              <a:rPr lang="en-US" sz="1945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945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técnico</a:t>
            </a:r>
            <a:r>
              <a:rPr lang="en-US" sz="1945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para </a:t>
            </a:r>
            <a:r>
              <a:rPr lang="en-US" sz="1945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seu</a:t>
            </a:r>
            <a:r>
              <a:rPr lang="en-US" sz="1945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945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futuro</a:t>
            </a:r>
            <a:r>
              <a:rPr lang="en-US" sz="1945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945" b="1" dirty="0" err="1">
                <a:solidFill>
                  <a:srgbClr val="4472C4">
                    <a:lumMod val="50000"/>
                  </a:srgbClr>
                </a:solidFill>
                <a:latin typeface="Calibri"/>
              </a:rPr>
              <a:t>profissional</a:t>
            </a:r>
            <a:endParaRPr lang="en-US" sz="3750" b="1" dirty="0">
              <a:solidFill>
                <a:srgbClr val="4472C4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2" name="Retângulo 21"/>
          <p:cNvSpPr/>
          <p:nvPr/>
        </p:nvSpPr>
        <p:spPr>
          <a:xfrm>
            <a:off x="4901609" y="3466214"/>
            <a:ext cx="1988288" cy="2151659"/>
          </a:xfrm>
          <a:prstGeom prst="rect">
            <a:avLst/>
          </a:prstGeom>
          <a:noFill/>
          <a:ln w="41275" cap="flat" cmpd="sng" algn="ctr">
            <a:solidFill>
              <a:srgbClr val="70AD47">
                <a:lumMod val="75000"/>
              </a:srgbClr>
            </a:solidFill>
            <a:prstDash val="dash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48561" y="6053422"/>
            <a:ext cx="835178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658277"/>
            <a:r>
              <a:rPr lang="pt-BR" altLang="pt-BR" sz="1600" dirty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Fonte: </a:t>
            </a:r>
            <a:r>
              <a:rPr lang="pt-BR" altLang="pt-BR" sz="1600" dirty="0" smtClean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Pesquisa “</a:t>
            </a:r>
            <a:r>
              <a:rPr lang="pt-BR" sz="1600" dirty="0" smtClean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Os Jovens, a Educação e </a:t>
            </a:r>
            <a:r>
              <a:rPr lang="pt-BR" sz="1600" dirty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o</a:t>
            </a:r>
            <a:r>
              <a:rPr lang="pt-BR" sz="1600" dirty="0" smtClean="0">
                <a:solidFill>
                  <a:schemeClr val="accent3">
                    <a:lumMod val="50000"/>
                  </a:schemeClr>
                </a:solidFill>
                <a:latin typeface="Century Gothic" pitchFamily="34" charset="0"/>
              </a:rPr>
              <a:t> Ensino Técnico”, 2016</a:t>
            </a:r>
            <a:endParaRPr lang="pt-BR" sz="1600" dirty="0">
              <a:solidFill>
                <a:schemeClr val="accent3">
                  <a:lumMod val="50000"/>
                </a:schemeClr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0557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8" descr="Resultado de imagem para olimpiada do conhecimento 2016"/>
          <p:cNvSpPr>
            <a:spLocks noChangeAspect="1" noChangeArrowheads="1"/>
          </p:cNvSpPr>
          <p:nvPr/>
        </p:nvSpPr>
        <p:spPr bwMode="auto">
          <a:xfrm>
            <a:off x="155663" y="-144462"/>
            <a:ext cx="304796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</a:endParaRPr>
          </a:p>
        </p:txBody>
      </p:sp>
      <p:sp>
        <p:nvSpPr>
          <p:cNvPr id="42" name="CaixaDeTexto 4"/>
          <p:cNvSpPr txBox="1">
            <a:spLocks noChangeArrowheads="1"/>
          </p:cNvSpPr>
          <p:nvPr/>
        </p:nvSpPr>
        <p:spPr bwMode="auto">
          <a:xfrm>
            <a:off x="958810" y="160339"/>
            <a:ext cx="993655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</a:rPr>
              <a:t>A NOVA LEI DO </a:t>
            </a:r>
            <a:r>
              <a:rPr kumimoji="0" lang="pt-BR" sz="4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</a:rPr>
              <a:t>ENSINO MÉDIO BRASILEIRO</a:t>
            </a:r>
          </a:p>
        </p:txBody>
      </p:sp>
      <p:graphicFrame>
        <p:nvGraphicFramePr>
          <p:cNvPr id="47" name="Diagrama 46"/>
          <p:cNvGraphicFramePr/>
          <p:nvPr>
            <p:extLst>
              <p:ext uri="{D42A27DB-BD31-4B8C-83A1-F6EECF244321}">
                <p14:modId xmlns:p14="http://schemas.microsoft.com/office/powerpoint/2010/main" val="72183718"/>
              </p:ext>
            </p:extLst>
          </p:nvPr>
        </p:nvGraphicFramePr>
        <p:xfrm>
          <a:off x="460459" y="938887"/>
          <a:ext cx="7748821" cy="47681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48" name="CaixaDeTexto 47"/>
          <p:cNvSpPr txBox="1"/>
          <p:nvPr/>
        </p:nvSpPr>
        <p:spPr>
          <a:xfrm>
            <a:off x="9062632" y="2804479"/>
            <a:ext cx="216024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MERCADO DE TRABALHO OU </a:t>
            </a:r>
          </a:p>
          <a:p>
            <a:pPr algn="ctr">
              <a:lnSpc>
                <a:spcPct val="150000"/>
              </a:lnSpc>
            </a:pPr>
            <a:r>
              <a:rPr lang="pt-BR" b="1" dirty="0">
                <a:solidFill>
                  <a:srgbClr val="4472C4">
                    <a:lumMod val="50000"/>
                  </a:srgbClr>
                </a:solidFill>
                <a:latin typeface="Calibri"/>
              </a:rPr>
              <a:t>ENSINO SUPERIOR</a:t>
            </a:r>
          </a:p>
        </p:txBody>
      </p:sp>
      <p:cxnSp>
        <p:nvCxnSpPr>
          <p:cNvPr id="49" name="Conector reto 48"/>
          <p:cNvCxnSpPr/>
          <p:nvPr/>
        </p:nvCxnSpPr>
        <p:spPr>
          <a:xfrm>
            <a:off x="3590071" y="1137568"/>
            <a:ext cx="23182" cy="4739136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dash"/>
            <a:miter lim="800000"/>
          </a:ln>
          <a:effectLst/>
        </p:spPr>
      </p:cxnSp>
      <p:sp>
        <p:nvSpPr>
          <p:cNvPr id="50" name="Retângulo 49"/>
          <p:cNvSpPr/>
          <p:nvPr/>
        </p:nvSpPr>
        <p:spPr>
          <a:xfrm>
            <a:off x="1511026" y="5876704"/>
            <a:ext cx="2079045" cy="461320"/>
          </a:xfrm>
          <a:prstGeom prst="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é 1.800 horas</a:t>
            </a:r>
          </a:p>
        </p:txBody>
      </p:sp>
      <p:sp>
        <p:nvSpPr>
          <p:cNvPr id="51" name="Retângulo 50"/>
          <p:cNvSpPr/>
          <p:nvPr/>
        </p:nvSpPr>
        <p:spPr>
          <a:xfrm>
            <a:off x="3614784" y="5876704"/>
            <a:ext cx="1841156" cy="461320"/>
          </a:xfrm>
          <a:prstGeom prst="rect">
            <a:avLst/>
          </a:prstGeom>
          <a:solidFill>
            <a:sysClr val="window" lastClr="FFFFFF"/>
          </a:solidFill>
          <a:ln w="22225" cap="flat" cmpd="sng" algn="ctr">
            <a:solidFill>
              <a:srgbClr val="002060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 </a:t>
            </a:r>
            <a:r>
              <a: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200</a:t>
            </a:r>
            <a:r>
              <a: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oras</a:t>
            </a:r>
          </a:p>
        </p:txBody>
      </p:sp>
      <p:sp>
        <p:nvSpPr>
          <p:cNvPr id="53" name="Chave direita 52"/>
          <p:cNvSpPr/>
          <p:nvPr/>
        </p:nvSpPr>
        <p:spPr>
          <a:xfrm>
            <a:off x="8334568" y="1240788"/>
            <a:ext cx="809344" cy="4466210"/>
          </a:xfrm>
          <a:prstGeom prst="rightBrace">
            <a:avLst/>
          </a:prstGeom>
          <a:noFill/>
          <a:ln w="28575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06231" y="6079561"/>
            <a:ext cx="1177250" cy="46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856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8" descr="Resultado de imagem para olimpiada do conhecimento 2016"/>
          <p:cNvSpPr>
            <a:spLocks noChangeAspect="1" noChangeArrowheads="1"/>
          </p:cNvSpPr>
          <p:nvPr/>
        </p:nvSpPr>
        <p:spPr bwMode="auto">
          <a:xfrm>
            <a:off x="155663" y="-144462"/>
            <a:ext cx="304796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</a:endParaRPr>
          </a:p>
        </p:txBody>
      </p:sp>
      <p:sp>
        <p:nvSpPr>
          <p:cNvPr id="12" name="Espaço Reservado para Conteúdo 2"/>
          <p:cNvSpPr txBox="1">
            <a:spLocks/>
          </p:cNvSpPr>
          <p:nvPr/>
        </p:nvSpPr>
        <p:spPr>
          <a:xfrm>
            <a:off x="791181" y="183944"/>
            <a:ext cx="11051884" cy="8640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346" indent="-194673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622005" indent="-356358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835822" indent="-211655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6pPr>
            <a:lvl7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7pPr>
            <a:lvl8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8pPr>
            <a:lvl9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r>
              <a:rPr lang="pt-BR" sz="2800" b="1" kern="0" dirty="0" smtClean="0">
                <a:solidFill>
                  <a:schemeClr val="tx2"/>
                </a:solidFill>
                <a:latin typeface="Calibri" panose="020F0502020204030204" pitchFamily="34" charset="0"/>
              </a:rPr>
              <a:t>FORMAÇÃO TÉCNICA E PROFISSIONAL</a:t>
            </a:r>
            <a:endParaRPr lang="pt-BR" sz="2800" b="1" kern="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52" name="Imagem 5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06231" y="6079561"/>
            <a:ext cx="1177250" cy="460633"/>
          </a:xfrm>
          <a:prstGeom prst="rect">
            <a:avLst/>
          </a:prstGeom>
        </p:spPr>
      </p:pic>
      <p:sp>
        <p:nvSpPr>
          <p:cNvPr id="53" name="Rectangle 51"/>
          <p:cNvSpPr>
            <a:spLocks/>
          </p:cNvSpPr>
          <p:nvPr/>
        </p:nvSpPr>
        <p:spPr>
          <a:xfrm>
            <a:off x="155663" y="770243"/>
            <a:ext cx="11008739" cy="25781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 dirty="0" err="1" smtClean="0">
              <a:solidFill>
                <a:schemeClr val="tx1"/>
              </a:solidFill>
            </a:endParaRPr>
          </a:p>
        </p:txBody>
      </p:sp>
      <p:sp>
        <p:nvSpPr>
          <p:cNvPr id="54" name="Rectangle 5"/>
          <p:cNvSpPr>
            <a:spLocks/>
          </p:cNvSpPr>
          <p:nvPr/>
        </p:nvSpPr>
        <p:spPr>
          <a:xfrm>
            <a:off x="155664" y="770244"/>
            <a:ext cx="11008738" cy="476250"/>
          </a:xfrm>
          <a:prstGeom prst="rect">
            <a:avLst/>
          </a:prstGeom>
          <a:solidFill>
            <a:schemeClr val="accent4">
              <a:lumMod val="90000"/>
              <a:lumOff val="1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800" b="1" dirty="0" smtClean="0"/>
              <a:t>CURSO TÉCNICO DE NÍVEL MÉDIO</a:t>
            </a:r>
            <a:endParaRPr lang="pt-BR" sz="1800" b="1" dirty="0"/>
          </a:p>
        </p:txBody>
      </p:sp>
      <p:sp>
        <p:nvSpPr>
          <p:cNvPr id="55" name="Rectangle 61"/>
          <p:cNvSpPr>
            <a:spLocks/>
          </p:cNvSpPr>
          <p:nvPr/>
        </p:nvSpPr>
        <p:spPr>
          <a:xfrm>
            <a:off x="155663" y="3492538"/>
            <a:ext cx="11008739" cy="25631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 dirty="0" err="1" smtClean="0">
              <a:solidFill>
                <a:schemeClr val="tx1"/>
              </a:solidFill>
            </a:endParaRPr>
          </a:p>
        </p:txBody>
      </p:sp>
      <p:sp>
        <p:nvSpPr>
          <p:cNvPr id="56" name="Rectangle 62"/>
          <p:cNvSpPr>
            <a:spLocks/>
          </p:cNvSpPr>
          <p:nvPr/>
        </p:nvSpPr>
        <p:spPr>
          <a:xfrm>
            <a:off x="155663" y="3492539"/>
            <a:ext cx="10971241" cy="476250"/>
          </a:xfrm>
          <a:prstGeom prst="rect">
            <a:avLst/>
          </a:prstGeom>
          <a:solidFill>
            <a:schemeClr val="accent4">
              <a:lumMod val="90000"/>
              <a:lumOff val="1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800" b="1" dirty="0" smtClean="0"/>
              <a:t>QUALIFICAÇÃO PROFISSIONAL</a:t>
            </a:r>
            <a:endParaRPr lang="pt-BR" sz="1800" b="1" dirty="0"/>
          </a:p>
        </p:txBody>
      </p:sp>
      <p:sp>
        <p:nvSpPr>
          <p:cNvPr id="57" name="Retângulo 56"/>
          <p:cNvSpPr/>
          <p:nvPr/>
        </p:nvSpPr>
        <p:spPr>
          <a:xfrm>
            <a:off x="237358" y="1317104"/>
            <a:ext cx="1074848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dirty="0">
                <a:latin typeface="Calibri" panose="020F0502020204030204" pitchFamily="34" charset="0"/>
              </a:rPr>
              <a:t>O</a:t>
            </a:r>
            <a:r>
              <a:rPr lang="pt-BR" dirty="0" smtClean="0">
                <a:latin typeface="Calibri" panose="020F0502020204030204" pitchFamily="34" charset="0"/>
              </a:rPr>
              <a:t>bjetivam proporcionar ao estudante conhecimentos, saberes e competências profissionais necessários ao exercício profissional e da cidadania, com base nos fundamentos científico-tecnológicos, sócio históricos e culturais. </a:t>
            </a:r>
            <a:r>
              <a:rPr lang="pt-BR" dirty="0">
                <a:latin typeface="Calibri" panose="020F0502020204030204" pitchFamily="34" charset="0"/>
              </a:rPr>
              <a:t>(Art. 5º da Resolução 06/2012 - MEC)</a:t>
            </a:r>
          </a:p>
          <a:p>
            <a:pPr>
              <a:lnSpc>
                <a:spcPct val="150000"/>
              </a:lnSpc>
            </a:pPr>
            <a:r>
              <a:rPr lang="pt-BR" sz="2400" b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A </a:t>
            </a:r>
            <a:r>
              <a:rPr lang="pt-BR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carga horária mínima - 800 horas.</a:t>
            </a:r>
          </a:p>
          <a:p>
            <a:pPr>
              <a:lnSpc>
                <a:spcPct val="150000"/>
              </a:lnSpc>
            </a:pPr>
            <a:r>
              <a:rPr lang="pt-BR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Ao término do curso o aluno recebe um diploma de nível técnico. </a:t>
            </a:r>
          </a:p>
        </p:txBody>
      </p:sp>
      <p:sp>
        <p:nvSpPr>
          <p:cNvPr id="58" name="Retângulo 57"/>
          <p:cNvSpPr/>
          <p:nvPr/>
        </p:nvSpPr>
        <p:spPr>
          <a:xfrm>
            <a:off x="201962" y="4024373"/>
            <a:ext cx="1097124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>
                <a:latin typeface="Calibri" panose="020F0502020204030204" pitchFamily="34" charset="0"/>
              </a:rPr>
              <a:t>Cursos de curta </a:t>
            </a:r>
            <a:r>
              <a:rPr lang="pt-BR" dirty="0" smtClean="0">
                <a:latin typeface="Calibri" panose="020F0502020204030204" pitchFamily="34" charset="0"/>
              </a:rPr>
              <a:t>duração </a:t>
            </a:r>
            <a:r>
              <a:rPr lang="pt-BR" dirty="0">
                <a:latin typeface="Calibri" panose="020F0502020204030204" pitchFamily="34" charset="0"/>
              </a:rPr>
              <a:t>que desenvolvem competências e formam profissionais capacitados para entrada no mundo do trabalho. </a:t>
            </a:r>
          </a:p>
          <a:p>
            <a:pPr>
              <a:lnSpc>
                <a:spcPct val="150000"/>
              </a:lnSpc>
            </a:pPr>
            <a:r>
              <a:rPr lang="pt-BR" sz="2400" b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Carga </a:t>
            </a:r>
            <a:r>
              <a:rPr lang="pt-BR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horária mínima -</a:t>
            </a:r>
            <a:r>
              <a:rPr lang="pt-BR" sz="2400" b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pt-BR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160 </a:t>
            </a:r>
            <a:r>
              <a:rPr lang="pt-BR" sz="2400" b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horas.</a:t>
            </a:r>
          </a:p>
          <a:p>
            <a:pPr>
              <a:lnSpc>
                <a:spcPct val="150000"/>
              </a:lnSpc>
            </a:pPr>
            <a:r>
              <a:rPr lang="pt-BR" sz="2400" b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Ao </a:t>
            </a:r>
            <a:r>
              <a:rPr lang="pt-BR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término do curso o aluno recebe um certificado.</a:t>
            </a:r>
            <a:endParaRPr lang="pt-BR" sz="24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26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8" descr="Resultado de imagem para olimpiada do conhecimento 2016"/>
          <p:cNvSpPr>
            <a:spLocks noChangeAspect="1" noChangeArrowheads="1"/>
          </p:cNvSpPr>
          <p:nvPr/>
        </p:nvSpPr>
        <p:spPr bwMode="auto">
          <a:xfrm>
            <a:off x="155663" y="-144462"/>
            <a:ext cx="304796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</a:endParaRP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01765" y="6079601"/>
            <a:ext cx="1177250" cy="460633"/>
          </a:xfrm>
          <a:prstGeom prst="rect">
            <a:avLst/>
          </a:prstGeom>
        </p:spPr>
      </p:pic>
      <p:sp>
        <p:nvSpPr>
          <p:cNvPr id="19" name="Espaço Reservado para Conteúdo 2"/>
          <p:cNvSpPr txBox="1">
            <a:spLocks/>
          </p:cNvSpPr>
          <p:nvPr/>
        </p:nvSpPr>
        <p:spPr>
          <a:xfrm>
            <a:off x="791181" y="183944"/>
            <a:ext cx="11051884" cy="8640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346" indent="-194673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622005" indent="-356358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835822" indent="-211655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6pPr>
            <a:lvl7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7pPr>
            <a:lvl8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8pPr>
            <a:lvl9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r>
              <a:rPr lang="pt-BR" sz="2800" b="1" kern="0" dirty="0" smtClean="0">
                <a:solidFill>
                  <a:schemeClr val="tx2"/>
                </a:solidFill>
                <a:latin typeface="Calibri" panose="020F0502020204030204" pitchFamily="34" charset="0"/>
              </a:rPr>
              <a:t>PRÁTICA PROFISSIONAL NO SETOR PRODUTIVO</a:t>
            </a:r>
            <a:endParaRPr lang="pt-BR" sz="2800" b="1" kern="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Rectangle 16"/>
          <p:cNvSpPr>
            <a:spLocks/>
          </p:cNvSpPr>
          <p:nvPr/>
        </p:nvSpPr>
        <p:spPr bwMode="auto">
          <a:xfrm>
            <a:off x="-124022" y="1326936"/>
            <a:ext cx="536328" cy="490232"/>
          </a:xfrm>
          <a:custGeom>
            <a:avLst/>
            <a:gdLst/>
            <a:ahLst/>
            <a:cxnLst/>
            <a:rect l="l" t="t" r="r" b="b"/>
            <a:pathLst>
              <a:path w="536328" h="360485">
                <a:moveTo>
                  <a:pt x="0" y="0"/>
                </a:moveTo>
                <a:lnTo>
                  <a:pt x="254975" y="0"/>
                </a:lnTo>
                <a:lnTo>
                  <a:pt x="281353" y="0"/>
                </a:lnTo>
                <a:lnTo>
                  <a:pt x="536328" y="0"/>
                </a:lnTo>
                <a:lnTo>
                  <a:pt x="536328" y="360485"/>
                </a:lnTo>
                <a:lnTo>
                  <a:pt x="281353" y="360485"/>
                </a:lnTo>
                <a:lnTo>
                  <a:pt x="254975" y="360485"/>
                </a:lnTo>
                <a:lnTo>
                  <a:pt x="0" y="360485"/>
                </a:lnTo>
                <a:lnTo>
                  <a:pt x="0" y="359988"/>
                </a:lnTo>
                <a:lnTo>
                  <a:pt x="167053" y="180243"/>
                </a:lnTo>
                <a:lnTo>
                  <a:pt x="0" y="498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38100" dist="12700" dir="8100000" algn="tr" rotWithShape="0">
              <a:prstClr val="black">
                <a:alpha val="28000"/>
              </a:prstClr>
            </a:outerShdw>
          </a:effectLst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endParaRPr lang="es-CO" sz="16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74"/>
          <p:cNvSpPr/>
          <p:nvPr/>
        </p:nvSpPr>
        <p:spPr>
          <a:xfrm>
            <a:off x="344046" y="1048040"/>
            <a:ext cx="5616916" cy="44577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79"/>
          <p:cNvSpPr/>
          <p:nvPr/>
        </p:nvSpPr>
        <p:spPr bwMode="auto">
          <a:xfrm rot="16200000" flipH="1">
            <a:off x="69353" y="1527197"/>
            <a:ext cx="377365" cy="202576"/>
          </a:xfrm>
          <a:prstGeom prst="triangle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s-CO"/>
          </a:p>
        </p:txBody>
      </p:sp>
      <p:sp>
        <p:nvSpPr>
          <p:cNvPr id="23" name="Pentagon 80"/>
          <p:cNvSpPr>
            <a:spLocks/>
          </p:cNvSpPr>
          <p:nvPr/>
        </p:nvSpPr>
        <p:spPr bwMode="auto">
          <a:xfrm>
            <a:off x="156747" y="1142655"/>
            <a:ext cx="5230786" cy="490232"/>
          </a:xfrm>
          <a:prstGeom prst="homePlate">
            <a:avLst>
              <a:gd name="adj" fmla="val 32927"/>
            </a:avLst>
          </a:prstGeom>
          <a:solidFill>
            <a:schemeClr val="accent4">
              <a:lumMod val="90000"/>
              <a:lumOff val="10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4400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O" sz="22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s-CO" sz="2200" b="1" dirty="0" err="1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stágio</a:t>
            </a:r>
            <a:endParaRPr lang="es-CO" sz="2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588008" y="1912136"/>
            <a:ext cx="512899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smtClean="0">
                <a:latin typeface="Calibri" panose="020F0502020204030204" pitchFamily="34" charset="0"/>
              </a:rPr>
              <a:t>É </a:t>
            </a:r>
            <a:r>
              <a:rPr lang="pt-BR" sz="2000" b="1" dirty="0">
                <a:solidFill>
                  <a:schemeClr val="tx2"/>
                </a:solidFill>
                <a:latin typeface="Calibri" panose="020F0502020204030204" pitchFamily="34" charset="0"/>
              </a:rPr>
              <a:t>ato educativo escolar supervisionado</a:t>
            </a:r>
            <a:r>
              <a:rPr lang="pt-BR" sz="2000" dirty="0">
                <a:latin typeface="Calibri" panose="020F0502020204030204" pitchFamily="34" charset="0"/>
              </a:rPr>
              <a:t>, desenvolvido no ambiente de trabalho, que visa à preparação para o trabalho produtivo de educandos que estejam frequentando o ensino regular em instituições de educação superior, de educação profissional, de ensino médio, da educação especial e dos anos finais do ensino fundamental, na modalidade profissional da educação de jovens e adultos. </a:t>
            </a:r>
            <a:endParaRPr lang="pt-BR" sz="2000" dirty="0" smtClean="0">
              <a:latin typeface="Calibri" panose="020F0502020204030204" pitchFamily="34" charset="0"/>
            </a:endParaRPr>
          </a:p>
          <a:p>
            <a:r>
              <a:rPr lang="pt-BR" sz="2000" dirty="0" smtClean="0">
                <a:latin typeface="Calibri" panose="020F0502020204030204" pitchFamily="34" charset="0"/>
              </a:rPr>
              <a:t>(</a:t>
            </a:r>
            <a:r>
              <a:rPr lang="pt-BR" sz="2000" dirty="0">
                <a:latin typeface="Calibri" panose="020F0502020204030204" pitchFamily="34" charset="0"/>
              </a:rPr>
              <a:t>Art. 1º - Lei 11.788/2008)</a:t>
            </a:r>
          </a:p>
          <a:p>
            <a:endParaRPr lang="pt-BR" sz="2000" dirty="0">
              <a:latin typeface="Calibri" panose="020F0502020204030204" pitchFamily="34" charset="0"/>
            </a:endParaRPr>
          </a:p>
        </p:txBody>
      </p:sp>
      <p:sp>
        <p:nvSpPr>
          <p:cNvPr id="34" name="Rectangle 16"/>
          <p:cNvSpPr>
            <a:spLocks/>
          </p:cNvSpPr>
          <p:nvPr/>
        </p:nvSpPr>
        <p:spPr bwMode="auto">
          <a:xfrm>
            <a:off x="5960962" y="1326936"/>
            <a:ext cx="536328" cy="490232"/>
          </a:xfrm>
          <a:custGeom>
            <a:avLst/>
            <a:gdLst/>
            <a:ahLst/>
            <a:cxnLst/>
            <a:rect l="l" t="t" r="r" b="b"/>
            <a:pathLst>
              <a:path w="536328" h="360485">
                <a:moveTo>
                  <a:pt x="0" y="0"/>
                </a:moveTo>
                <a:lnTo>
                  <a:pt x="254975" y="0"/>
                </a:lnTo>
                <a:lnTo>
                  <a:pt x="281353" y="0"/>
                </a:lnTo>
                <a:lnTo>
                  <a:pt x="536328" y="0"/>
                </a:lnTo>
                <a:lnTo>
                  <a:pt x="536328" y="360485"/>
                </a:lnTo>
                <a:lnTo>
                  <a:pt x="281353" y="360485"/>
                </a:lnTo>
                <a:lnTo>
                  <a:pt x="254975" y="360485"/>
                </a:lnTo>
                <a:lnTo>
                  <a:pt x="0" y="360485"/>
                </a:lnTo>
                <a:lnTo>
                  <a:pt x="0" y="359988"/>
                </a:lnTo>
                <a:lnTo>
                  <a:pt x="167053" y="180243"/>
                </a:lnTo>
                <a:lnTo>
                  <a:pt x="0" y="498"/>
                </a:lnTo>
                <a:close/>
              </a:path>
            </a:pathLst>
          </a:custGeom>
          <a:solidFill>
            <a:schemeClr val="accent4">
              <a:lumMod val="90000"/>
              <a:lumOff val="10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38100" dist="12700" dir="8100000" algn="tr" rotWithShape="0">
              <a:prstClr val="black">
                <a:alpha val="28000"/>
              </a:prstClr>
            </a:outerShdw>
          </a:effectLst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endParaRPr lang="es-CO" sz="16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74"/>
          <p:cNvSpPr/>
          <p:nvPr/>
        </p:nvSpPr>
        <p:spPr>
          <a:xfrm>
            <a:off x="6429030" y="1048040"/>
            <a:ext cx="5616916" cy="44577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36" name="Isosceles Triangle 79"/>
          <p:cNvSpPr/>
          <p:nvPr/>
        </p:nvSpPr>
        <p:spPr bwMode="auto">
          <a:xfrm rot="16200000" flipH="1">
            <a:off x="6154337" y="1527197"/>
            <a:ext cx="377365" cy="202576"/>
          </a:xfrm>
          <a:prstGeom prst="triangle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s-CO"/>
          </a:p>
        </p:txBody>
      </p:sp>
      <p:sp>
        <p:nvSpPr>
          <p:cNvPr id="37" name="Pentagon 80"/>
          <p:cNvSpPr>
            <a:spLocks/>
          </p:cNvSpPr>
          <p:nvPr/>
        </p:nvSpPr>
        <p:spPr bwMode="auto">
          <a:xfrm>
            <a:off x="6241731" y="1142655"/>
            <a:ext cx="5230786" cy="490232"/>
          </a:xfrm>
          <a:prstGeom prst="homePlate">
            <a:avLst>
              <a:gd name="adj" fmla="val 32927"/>
            </a:avLst>
          </a:prstGeom>
          <a:solidFill>
            <a:schemeClr val="accent4">
              <a:lumMod val="90000"/>
              <a:lumOff val="10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4400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O" sz="22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s-CO" sz="2200" b="1" dirty="0" err="1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Aprendizagem</a:t>
            </a:r>
            <a:r>
              <a:rPr lang="es-CO" sz="22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CO" sz="2200" b="1" dirty="0" err="1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Profissional</a:t>
            </a:r>
            <a:endParaRPr lang="es-CO" sz="2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599540" y="1912136"/>
            <a:ext cx="5114039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000" b="1" dirty="0">
                <a:solidFill>
                  <a:schemeClr val="tx2"/>
                </a:solidFill>
                <a:latin typeface="Calibri" panose="020F0502020204030204" pitchFamily="34" charset="0"/>
              </a:rPr>
              <a:t>Contrato de trabalho especial, com prazo determinado</a:t>
            </a:r>
            <a:r>
              <a:rPr lang="pt-BR" sz="2000" dirty="0">
                <a:latin typeface="Calibri" panose="020F0502020204030204" pitchFamily="34" charset="0"/>
              </a:rPr>
              <a:t>, em que o empregador se compromete a assegurar ao maior de quatorze e menor de dezoito anos, inscrito em programa de aprendizagem, formação técnico-profissional metódica, compatível com o seu desenvolvimento físico, moral e psicológico, e o aprendiz, a </a:t>
            </a:r>
            <a:r>
              <a:rPr lang="pt-BR" sz="2000" b="1" dirty="0">
                <a:solidFill>
                  <a:schemeClr val="tx2"/>
                </a:solidFill>
                <a:latin typeface="Calibri" panose="020F0502020204030204" pitchFamily="34" charset="0"/>
              </a:rPr>
              <a:t>executar, com zelo e diligência, as tarefas necessárias a essa </a:t>
            </a:r>
            <a:r>
              <a:rPr lang="pt-BR" sz="2000" b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formação</a:t>
            </a:r>
            <a:r>
              <a:rPr lang="pt-BR" sz="2000" dirty="0" smtClean="0">
                <a:latin typeface="Calibri" panose="020F0502020204030204" pitchFamily="34" charset="0"/>
              </a:rPr>
              <a:t>.</a:t>
            </a:r>
          </a:p>
          <a:p>
            <a:pPr algn="just"/>
            <a:r>
              <a:rPr lang="pt-BR" sz="2000" dirty="0" smtClean="0">
                <a:latin typeface="Calibri" panose="020F0502020204030204" pitchFamily="34" charset="0"/>
              </a:rPr>
              <a:t>(</a:t>
            </a:r>
            <a:r>
              <a:rPr lang="pt-BR" sz="2000" dirty="0">
                <a:latin typeface="Calibri" panose="020F0502020204030204" pitchFamily="34" charset="0"/>
              </a:rPr>
              <a:t>Art. 428 – CLT).</a:t>
            </a:r>
          </a:p>
        </p:txBody>
      </p:sp>
    </p:spTree>
    <p:extLst>
      <p:ext uri="{BB962C8B-B14F-4D97-AF65-F5344CB8AC3E}">
        <p14:creationId xmlns:p14="http://schemas.microsoft.com/office/powerpoint/2010/main" val="1737979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8" descr="Resultado de imagem para olimpiada do conhecimento 2016"/>
          <p:cNvSpPr>
            <a:spLocks noChangeAspect="1" noChangeArrowheads="1"/>
          </p:cNvSpPr>
          <p:nvPr/>
        </p:nvSpPr>
        <p:spPr bwMode="auto">
          <a:xfrm>
            <a:off x="155663" y="-144462"/>
            <a:ext cx="304796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1632">
              <a:solidFill>
                <a:srgbClr val="000000"/>
              </a:solidFill>
            </a:endParaRPr>
          </a:p>
        </p:txBody>
      </p:sp>
      <p:sp>
        <p:nvSpPr>
          <p:cNvPr id="34" name="CaixaDeTexto 4"/>
          <p:cNvSpPr txBox="1">
            <a:spLocks noChangeArrowheads="1"/>
          </p:cNvSpPr>
          <p:nvPr/>
        </p:nvSpPr>
        <p:spPr bwMode="auto">
          <a:xfrm>
            <a:off x="935038" y="160339"/>
            <a:ext cx="110834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/>
            <a:r>
              <a:rPr lang="pt-BR" sz="3600" b="1" kern="0" dirty="0" smtClean="0">
                <a:solidFill>
                  <a:schemeClr val="tx2"/>
                </a:solidFill>
              </a:rPr>
              <a:t>É PRECISO...</a:t>
            </a:r>
            <a:endParaRPr lang="pt-BR" sz="3600" b="1" kern="0" dirty="0">
              <a:solidFill>
                <a:schemeClr val="tx2"/>
              </a:solidFill>
            </a:endParaRPr>
          </a:p>
        </p:txBody>
      </p:sp>
      <p:sp>
        <p:nvSpPr>
          <p:cNvPr id="11" name="Rectangle 27"/>
          <p:cNvSpPr>
            <a:spLocks noChangeArrowheads="1"/>
          </p:cNvSpPr>
          <p:nvPr/>
        </p:nvSpPr>
        <p:spPr bwMode="auto">
          <a:xfrm rot="5400000" flipH="1">
            <a:off x="7349723" y="-3076305"/>
            <a:ext cx="1465418" cy="7938708"/>
          </a:xfrm>
          <a:prstGeom prst="rect">
            <a:avLst/>
          </a:prstGeom>
          <a:gradFill rotWithShape="1">
            <a:gsLst>
              <a:gs pos="0">
                <a:srgbClr val="E2E2E2"/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s-CO" sz="2000"/>
          </a:p>
        </p:txBody>
      </p:sp>
      <p:sp>
        <p:nvSpPr>
          <p:cNvPr id="12" name="CaixaDeTexto 13"/>
          <p:cNvSpPr txBox="1">
            <a:spLocks/>
          </p:cNvSpPr>
          <p:nvPr/>
        </p:nvSpPr>
        <p:spPr>
          <a:xfrm>
            <a:off x="5920160" y="342087"/>
            <a:ext cx="5874443" cy="104644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pt-BR" sz="2000" dirty="0" smtClean="0">
                <a:latin typeface="Calibri" panose="020F0502020204030204" pitchFamily="34" charset="0"/>
              </a:rPr>
              <a:t>Orientar a oferta às </a:t>
            </a:r>
            <a:r>
              <a:rPr lang="pt-BR" sz="2000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demanda </a:t>
            </a:r>
            <a:r>
              <a:rPr lang="pt-BR" sz="2000" b="1" dirty="0">
                <a:solidFill>
                  <a:schemeClr val="accent4"/>
                </a:solidFill>
                <a:latin typeface="Calibri" panose="020F0502020204030204" pitchFamily="34" charset="0"/>
              </a:rPr>
              <a:t>do setor </a:t>
            </a:r>
            <a:r>
              <a:rPr lang="pt-BR" sz="2000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produtivo</a:t>
            </a:r>
            <a:r>
              <a:rPr lang="pt-BR" sz="2000" dirty="0" smtClean="0">
                <a:latin typeface="Calibri" panose="020F0502020204030204" pitchFamily="34" charset="0"/>
              </a:rPr>
              <a:t>;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pt-BR" sz="800" dirty="0">
              <a:latin typeface="Calibri" panose="020F0502020204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pt-BR" sz="2000" dirty="0" smtClean="0">
                <a:latin typeface="Calibri" panose="020F0502020204030204" pitchFamily="34" charset="0"/>
              </a:rPr>
              <a:t>Criar </a:t>
            </a:r>
            <a:r>
              <a:rPr lang="pt-BR" sz="2000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diretrizes </a:t>
            </a:r>
            <a:r>
              <a:rPr lang="pt-BR" sz="2000" b="1" dirty="0">
                <a:solidFill>
                  <a:schemeClr val="accent4"/>
                </a:solidFill>
                <a:latin typeface="Calibri" panose="020F0502020204030204" pitchFamily="34" charset="0"/>
              </a:rPr>
              <a:t>nacionais </a:t>
            </a:r>
            <a:r>
              <a:rPr lang="pt-BR" sz="2000" dirty="0">
                <a:latin typeface="Calibri" panose="020F0502020204030204" pitchFamily="34" charset="0"/>
              </a:rPr>
              <a:t>para a educação </a:t>
            </a:r>
            <a:r>
              <a:rPr lang="pt-BR" sz="2000" dirty="0" smtClean="0">
                <a:latin typeface="Calibri" panose="020F0502020204030204" pitchFamily="34" charset="0"/>
              </a:rPr>
              <a:t>profissional.</a:t>
            </a:r>
          </a:p>
        </p:txBody>
      </p:sp>
      <p:pic>
        <p:nvPicPr>
          <p:cNvPr id="13" name="Picture 2" descr="C:\Users\sebastian angarita\Desktop\Template-Elements\PA PPT\Tablero-blanc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862" y="1202811"/>
            <a:ext cx="3266552" cy="4313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446662" y="2333693"/>
            <a:ext cx="3376038" cy="1299174"/>
          </a:xfrm>
          <a:prstGeom prst="rect">
            <a:avLst/>
          </a:prstGeom>
        </p:spPr>
        <p:txBody>
          <a:bodyPr vert="horz" lIns="89611" tIns="44806" rIns="89611" bIns="44806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pt-BR" sz="2800" b="1" dirty="0"/>
          </a:p>
        </p:txBody>
      </p:sp>
      <p:sp>
        <p:nvSpPr>
          <p:cNvPr id="15" name="Rectangle 27"/>
          <p:cNvSpPr>
            <a:spLocks noChangeArrowheads="1"/>
          </p:cNvSpPr>
          <p:nvPr/>
        </p:nvSpPr>
        <p:spPr bwMode="auto">
          <a:xfrm rot="5400000" flipH="1">
            <a:off x="7933118" y="844747"/>
            <a:ext cx="1699521" cy="6471242"/>
          </a:xfrm>
          <a:prstGeom prst="rect">
            <a:avLst/>
          </a:prstGeom>
          <a:gradFill rotWithShape="1">
            <a:gsLst>
              <a:gs pos="0">
                <a:srgbClr val="E2E2E2"/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s-CO" sz="2000">
              <a:latin typeface="Calibri" panose="020F0502020204030204" pitchFamily="34" charset="0"/>
            </a:endParaRPr>
          </a:p>
        </p:txBody>
      </p:sp>
      <p:sp>
        <p:nvSpPr>
          <p:cNvPr id="17" name="Rectangle 27"/>
          <p:cNvSpPr>
            <a:spLocks noChangeArrowheads="1"/>
          </p:cNvSpPr>
          <p:nvPr/>
        </p:nvSpPr>
        <p:spPr bwMode="auto">
          <a:xfrm rot="5400000" flipH="1">
            <a:off x="8468000" y="-575126"/>
            <a:ext cx="1237931" cy="5868578"/>
          </a:xfrm>
          <a:prstGeom prst="rect">
            <a:avLst/>
          </a:prstGeom>
          <a:gradFill rotWithShape="1">
            <a:gsLst>
              <a:gs pos="0">
                <a:srgbClr val="E2E2E2"/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s-CO" sz="2000">
              <a:latin typeface="Calibri" panose="020F0502020204030204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5784489" y="1936404"/>
            <a:ext cx="59070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dirty="0" smtClean="0">
                <a:latin typeface="Calibri" panose="020F0502020204030204" pitchFamily="34" charset="0"/>
              </a:rPr>
              <a:t>Focar em </a:t>
            </a:r>
            <a:r>
              <a:rPr lang="pt-BR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STEM</a:t>
            </a:r>
            <a:r>
              <a:rPr lang="pt-BR" dirty="0" smtClean="0">
                <a:latin typeface="Calibri" panose="020F0502020204030204" pitchFamily="34" charset="0"/>
              </a:rPr>
              <a:t> - </a:t>
            </a:r>
            <a:r>
              <a:rPr lang="en-US" i="1" dirty="0">
                <a:latin typeface="Calibri" panose="020F0502020204030204" pitchFamily="34" charset="0"/>
              </a:rPr>
              <a:t>Science, </a:t>
            </a:r>
            <a:r>
              <a:rPr lang="en-US" i="1" dirty="0" smtClean="0">
                <a:latin typeface="Calibri" panose="020F0502020204030204" pitchFamily="34" charset="0"/>
              </a:rPr>
              <a:t>Technology</a:t>
            </a:r>
            <a:r>
              <a:rPr lang="en-US" i="1" dirty="0">
                <a:latin typeface="Calibri" panose="020F0502020204030204" pitchFamily="34" charset="0"/>
              </a:rPr>
              <a:t>, </a:t>
            </a:r>
            <a:r>
              <a:rPr lang="en-US" i="1" dirty="0" smtClean="0">
                <a:latin typeface="Calibri" panose="020F0502020204030204" pitchFamily="34" charset="0"/>
              </a:rPr>
              <a:t>Engineering </a:t>
            </a:r>
            <a:r>
              <a:rPr lang="en-US" i="1" dirty="0">
                <a:latin typeface="Calibri" panose="020F0502020204030204" pitchFamily="34" charset="0"/>
              </a:rPr>
              <a:t>and </a:t>
            </a:r>
            <a:r>
              <a:rPr lang="en-US" i="1" dirty="0" smtClean="0">
                <a:latin typeface="Calibri" panose="020F0502020204030204" pitchFamily="34" charset="0"/>
              </a:rPr>
              <a:t>Mathematic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err="1" smtClean="0">
                <a:latin typeface="Calibri" panose="020F0502020204030204" pitchFamily="34" charset="0"/>
              </a:rPr>
              <a:t>Prever</a:t>
            </a:r>
            <a:r>
              <a:rPr lang="en-US" dirty="0" smtClean="0">
                <a:latin typeface="Calibri" panose="020F0502020204030204" pitchFamily="34" charset="0"/>
              </a:rPr>
              <a:t> </a:t>
            </a:r>
            <a:r>
              <a:rPr lang="en-US" b="1" dirty="0" err="1" smtClean="0">
                <a:solidFill>
                  <a:schemeClr val="accent4"/>
                </a:solidFill>
                <a:latin typeface="Calibri" panose="020F0502020204030204" pitchFamily="34" charset="0"/>
              </a:rPr>
              <a:t>itinerários</a:t>
            </a:r>
            <a:r>
              <a:rPr lang="en-US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 smtClean="0">
                <a:solidFill>
                  <a:schemeClr val="accent4"/>
                </a:solidFill>
                <a:latin typeface="Calibri" panose="020F0502020204030204" pitchFamily="34" charset="0"/>
              </a:rPr>
              <a:t>formativos</a:t>
            </a:r>
            <a:r>
              <a:rPr lang="en-US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   </a:t>
            </a:r>
            <a:endParaRPr lang="pt-BR" b="1" dirty="0">
              <a:solidFill>
                <a:schemeClr val="accent4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Rectangle 38"/>
          <p:cNvSpPr>
            <a:spLocks/>
          </p:cNvSpPr>
          <p:nvPr/>
        </p:nvSpPr>
        <p:spPr>
          <a:xfrm>
            <a:off x="3742098" y="203707"/>
            <a:ext cx="1805162" cy="1361335"/>
          </a:xfrm>
          <a:prstGeom prst="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i="1" dirty="0" smtClean="0">
                <a:latin typeface="Georgia" pitchFamily="18" charset="0"/>
              </a:rPr>
              <a:t>Mercado de Trabalho</a:t>
            </a:r>
            <a:endParaRPr lang="pt-BR" sz="1800" b="1" i="1" dirty="0">
              <a:latin typeface="Georgia" pitchFamily="18" charset="0"/>
            </a:endParaRPr>
          </a:p>
        </p:txBody>
      </p:sp>
      <p:sp>
        <p:nvSpPr>
          <p:cNvPr id="24" name="Rectangle 38"/>
          <p:cNvSpPr>
            <a:spLocks/>
          </p:cNvSpPr>
          <p:nvPr/>
        </p:nvSpPr>
        <p:spPr>
          <a:xfrm>
            <a:off x="3742098" y="1730299"/>
            <a:ext cx="1805162" cy="1361335"/>
          </a:xfrm>
          <a:prstGeom prst="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i="1" dirty="0" smtClean="0">
                <a:latin typeface="Georgia" pitchFamily="18" charset="0"/>
              </a:rPr>
              <a:t>Currículo</a:t>
            </a:r>
            <a:endParaRPr lang="pt-BR" sz="1800" b="1" i="1" dirty="0">
              <a:latin typeface="Georgia" pitchFamily="18" charset="0"/>
            </a:endParaRPr>
          </a:p>
        </p:txBody>
      </p:sp>
      <p:sp>
        <p:nvSpPr>
          <p:cNvPr id="25" name="Rectangle 38"/>
          <p:cNvSpPr>
            <a:spLocks/>
          </p:cNvSpPr>
          <p:nvPr/>
        </p:nvSpPr>
        <p:spPr>
          <a:xfrm>
            <a:off x="3742098" y="3230608"/>
            <a:ext cx="1805162" cy="1604776"/>
          </a:xfrm>
          <a:prstGeom prst="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i="1" dirty="0" smtClean="0">
                <a:latin typeface="Georgia" pitchFamily="18" charset="0"/>
              </a:rPr>
              <a:t>Maior abrangência</a:t>
            </a:r>
            <a:endParaRPr lang="pt-BR" sz="1800" b="1" i="1" dirty="0">
              <a:latin typeface="Georgia" pitchFamily="18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237169" y="2063207"/>
            <a:ext cx="29479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Itinerário V</a:t>
            </a:r>
          </a:p>
          <a:p>
            <a:pPr algn="ctr"/>
            <a:endParaRPr lang="pt-BR" sz="2400" b="1" dirty="0">
              <a:solidFill>
                <a:schemeClr val="accent4"/>
              </a:solidFill>
              <a:latin typeface="Calibri" panose="020F0502020204030204" pitchFamily="34" charset="0"/>
            </a:endParaRPr>
          </a:p>
          <a:p>
            <a:pPr algn="ctr"/>
            <a:r>
              <a:rPr lang="pt-BR" sz="2400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Formação Técnica e Profissional</a:t>
            </a:r>
            <a:endParaRPr lang="pt-BR" sz="2400" b="1" dirty="0">
              <a:solidFill>
                <a:schemeClr val="accent4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Rectangle 38"/>
          <p:cNvSpPr>
            <a:spLocks/>
          </p:cNvSpPr>
          <p:nvPr/>
        </p:nvSpPr>
        <p:spPr>
          <a:xfrm>
            <a:off x="3742097" y="4999578"/>
            <a:ext cx="1805162" cy="1135002"/>
          </a:xfrm>
          <a:prstGeom prst="rect">
            <a:avLst/>
          </a:prstGeom>
          <a:solidFill>
            <a:schemeClr val="accent3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i="1" dirty="0" smtClean="0">
                <a:latin typeface="Georgia" pitchFamily="18" charset="0"/>
              </a:rPr>
              <a:t>Qualidade</a:t>
            </a:r>
            <a:endParaRPr lang="pt-BR" sz="1800" b="1" i="1" dirty="0">
              <a:latin typeface="Georgia" pitchFamily="18" charset="0"/>
            </a:endParaRP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 rot="5400000" flipH="1">
            <a:off x="8332179" y="2380238"/>
            <a:ext cx="995422" cy="6374363"/>
          </a:xfrm>
          <a:prstGeom prst="rect">
            <a:avLst/>
          </a:prstGeom>
          <a:gradFill rotWithShape="1">
            <a:gsLst>
              <a:gs pos="0">
                <a:srgbClr val="E2E2E2"/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s-CO" sz="2000">
              <a:latin typeface="Calibri" panose="020F0502020204030204" pitchFamily="34" charset="0"/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5688950" y="3263005"/>
            <a:ext cx="629663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dirty="0" smtClean="0">
                <a:latin typeface="Calibri" panose="020F0502020204030204" pitchFamily="34" charset="0"/>
              </a:rPr>
              <a:t>Prever </a:t>
            </a:r>
            <a:r>
              <a:rPr lang="pt-BR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modelos de gestão flexíveis </a:t>
            </a:r>
            <a:r>
              <a:rPr lang="pt-BR" dirty="0" smtClean="0">
                <a:latin typeface="Calibri" panose="020F0502020204030204" pitchFamily="34" charset="0"/>
              </a:rPr>
              <a:t>e com possibilidade de </a:t>
            </a:r>
            <a:r>
              <a:rPr lang="pt-BR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dupla </a:t>
            </a:r>
            <a:r>
              <a:rPr lang="pt-BR" b="1" dirty="0">
                <a:solidFill>
                  <a:schemeClr val="accent4"/>
                </a:solidFill>
                <a:latin typeface="Calibri" panose="020F0502020204030204" pitchFamily="34" charset="0"/>
              </a:rPr>
              <a:t>certificação</a:t>
            </a:r>
            <a:r>
              <a:rPr lang="pt-BR" dirty="0">
                <a:latin typeface="Calibri" panose="020F0502020204030204" pitchFamily="34" charset="0"/>
              </a:rPr>
              <a:t> para viabilizar parcerias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pt-BR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dirty="0" smtClean="0">
                <a:latin typeface="Calibri" panose="020F0502020204030204" pitchFamily="34" charset="0"/>
              </a:rPr>
              <a:t>Criar </a:t>
            </a:r>
            <a:r>
              <a:rPr lang="pt-BR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critérios </a:t>
            </a:r>
            <a:r>
              <a:rPr lang="pt-BR" b="1" dirty="0">
                <a:solidFill>
                  <a:schemeClr val="accent4"/>
                </a:solidFill>
                <a:latin typeface="Calibri" panose="020F0502020204030204" pitchFamily="34" charset="0"/>
              </a:rPr>
              <a:t>mínimos </a:t>
            </a:r>
            <a:r>
              <a:rPr lang="pt-BR" dirty="0">
                <a:latin typeface="Calibri" panose="020F0502020204030204" pitchFamily="34" charset="0"/>
              </a:rPr>
              <a:t>para a </a:t>
            </a:r>
            <a:r>
              <a:rPr lang="pt-BR" b="1" dirty="0">
                <a:solidFill>
                  <a:schemeClr val="accent4"/>
                </a:solidFill>
                <a:latin typeface="Calibri" panose="020F0502020204030204" pitchFamily="34" charset="0"/>
              </a:rPr>
              <a:t>certificação de profissionais com notório </a:t>
            </a:r>
            <a:r>
              <a:rPr lang="pt-BR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saber, </a:t>
            </a:r>
            <a:r>
              <a:rPr lang="pt-BR" dirty="0" smtClean="0">
                <a:latin typeface="Calibri" panose="020F0502020204030204" pitchFamily="34" charset="0"/>
              </a:rPr>
              <a:t>estabelecidos pelo Ministério da Educação - MEC</a:t>
            </a:r>
            <a:endParaRPr lang="pt-BR" dirty="0">
              <a:latin typeface="Calibri" panose="020F0502020204030204" pitchFamily="34" charset="0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5784490" y="5243656"/>
            <a:ext cx="61385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dirty="0" smtClean="0">
                <a:latin typeface="Calibri" panose="020F0502020204030204" pitchFamily="34" charset="0"/>
              </a:rPr>
              <a:t>Adotar </a:t>
            </a:r>
            <a:r>
              <a:rPr lang="pt-BR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sistema de avaliaç</a:t>
            </a:r>
            <a:r>
              <a:rPr lang="pt-BR" dirty="0" smtClean="0">
                <a:latin typeface="Calibri" panose="020F0502020204030204" pitchFamily="34" charset="0"/>
              </a:rPr>
              <a:t>ão de estudantes específico para cada curso técnico.  </a:t>
            </a:r>
            <a:endParaRPr lang="pt-BR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108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MbDO6y0iY7HIkJQ5i3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uS8IEk0uGqbtkn_91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MbDO6y0iY7HIkJQ5i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uS8IEk0uGqbtkn_91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MbDO6y0iY7HIkJQ5i3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uS8IEk0uGqbtkn_91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MbDO6y0iY7HIkJQ5i3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uS8IEk0uGqbtkn_91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SSP2015_powerpoint_Arial_EN_v3.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SSP2015_powerpoint_EN_v3.0.potx" id="{D5894EE8-61E2-4FDD-A6C9-D78B2A8FF601}" vid="{BF68D47F-2BE0-4D98-8533-E44ECCA43C15}"/>
    </a:ext>
  </a:extLst>
</a:theme>
</file>

<file path=ppt/theme/theme3.xml><?xml version="1.0" encoding="utf-8"?>
<a:theme xmlns:a="http://schemas.openxmlformats.org/drawingml/2006/main" name="Firm Format - template_Blue">
  <a:themeElements>
    <a:clrScheme name="Custom 1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FC0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D44CB43B-36BF-4892-9FA1-9202DB698BDC}" vid="{A31D16EF-0BFC-4E58-9101-1E816436060E}"/>
    </a:ext>
  </a:extLst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6937</TotalTime>
  <Words>1873</Words>
  <Application>Microsoft Office PowerPoint</Application>
  <PresentationFormat>Widescreen</PresentationFormat>
  <Paragraphs>452</Paragraphs>
  <Slides>25</Slides>
  <Notes>14</Notes>
  <HiddenSlides>0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5</vt:i4>
      </vt:variant>
    </vt:vector>
  </HeadingPairs>
  <TitlesOfParts>
    <vt:vector size="41" baseType="lpstr">
      <vt:lpstr>ＭＳ Ｐゴシック</vt:lpstr>
      <vt:lpstr>Andalus</vt:lpstr>
      <vt:lpstr>Arial</vt:lpstr>
      <vt:lpstr>Calibri</vt:lpstr>
      <vt:lpstr>Calibri Light</vt:lpstr>
      <vt:lpstr>Century Gothic</vt:lpstr>
      <vt:lpstr>DokChampa</vt:lpstr>
      <vt:lpstr>Frutiger LT Com 45 Light</vt:lpstr>
      <vt:lpstr>Georgia</vt:lpstr>
      <vt:lpstr>Segoe UI</vt:lpstr>
      <vt:lpstr>Verdana</vt:lpstr>
      <vt:lpstr>Wingdings</vt:lpstr>
      <vt:lpstr>Tema do Office</vt:lpstr>
      <vt:lpstr>WSSP2015_powerpoint_Arial_EN_v3.0</vt:lpstr>
      <vt:lpstr>Firm Format - template_Blu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ERFIS PROFISSIONAIS DEFINIDOS PELO MERCADO DE TRABALHO</vt:lpstr>
      <vt:lpstr>Apresentação do PowerPoint</vt:lpstr>
      <vt:lpstr>CURRÍCULOS ADEQUADOS ÀS ÁREAS TECNOLÓGICAS DA INDÚSTRIA</vt:lpstr>
      <vt:lpstr>Apresentação do PowerPoint</vt:lpstr>
      <vt:lpstr>Apresentação do PowerPoint</vt:lpstr>
      <vt:lpstr>Apresentação do PowerPoint</vt:lpstr>
      <vt:lpstr>MODELOS DE OPERAÇÃO DO PROJET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Servico Nacional de Aprendizagem Industri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Bruno Silveira Duarte</dc:creator>
  <cp:lastModifiedBy>Angela Silva Da Veiga</cp:lastModifiedBy>
  <cp:revision>589</cp:revision>
  <cp:lastPrinted>2017-05-29T22:51:21Z</cp:lastPrinted>
  <dcterms:created xsi:type="dcterms:W3CDTF">2016-02-17T17:30:56Z</dcterms:created>
  <dcterms:modified xsi:type="dcterms:W3CDTF">2017-08-31T14:48:50Z</dcterms:modified>
</cp:coreProperties>
</file>